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9"/>
  </p:notesMasterIdLst>
  <p:handoutMasterIdLst>
    <p:handoutMasterId r:id="rId20"/>
  </p:handoutMasterIdLst>
  <p:sldIdLst>
    <p:sldId id="263" r:id="rId5"/>
    <p:sldId id="262" r:id="rId6"/>
    <p:sldId id="353" r:id="rId7"/>
    <p:sldId id="354" r:id="rId8"/>
    <p:sldId id="355" r:id="rId9"/>
    <p:sldId id="349" r:id="rId10"/>
    <p:sldId id="351" r:id="rId11"/>
    <p:sldId id="345" r:id="rId12"/>
    <p:sldId id="264" r:id="rId13"/>
    <p:sldId id="346" r:id="rId14"/>
    <p:sldId id="352" r:id="rId15"/>
    <p:sldId id="347" r:id="rId16"/>
    <p:sldId id="348" r:id="rId17"/>
    <p:sldId id="312" r:id="rId18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9BFF"/>
    <a:srgbClr val="F89B2D"/>
    <a:srgbClr val="FFFFFF"/>
    <a:srgbClr val="FFFDF6"/>
    <a:srgbClr val="285DFF"/>
    <a:srgbClr val="D3DCDE"/>
    <a:srgbClr val="879092"/>
    <a:srgbClr val="285AFF"/>
    <a:srgbClr val="7030A0"/>
    <a:srgbClr val="FFFA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85B313A-1377-449B-85BC-3F92DDC48F10}" v="23" dt="2024-01-24T11:30:12.50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8" d="100"/>
          <a:sy n="108" d="100"/>
        </p:scale>
        <p:origin x="678" y="9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-168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ierre CHAVANNE" userId="2e2e2412-eb49-4787-bd3d-d17adeb25e11" providerId="ADAL" clId="{8E769656-82DF-4740-BA14-9D4801EE0342}"/>
    <pc:docChg chg="undo custSel addSld delSld modSld sldOrd">
      <pc:chgData name="Pierre CHAVANNE" userId="2e2e2412-eb49-4787-bd3d-d17adeb25e11" providerId="ADAL" clId="{8E769656-82DF-4740-BA14-9D4801EE0342}" dt="2023-12-11T15:22:29.230" v="11711"/>
      <pc:docMkLst>
        <pc:docMk/>
      </pc:docMkLst>
      <pc:sldChg chg="del">
        <pc:chgData name="Pierre CHAVANNE" userId="2e2e2412-eb49-4787-bd3d-d17adeb25e11" providerId="ADAL" clId="{8E769656-82DF-4740-BA14-9D4801EE0342}" dt="2023-12-11T09:20:32.775" v="105" actId="47"/>
        <pc:sldMkLst>
          <pc:docMk/>
          <pc:sldMk cId="416608894" sldId="256"/>
        </pc:sldMkLst>
      </pc:sldChg>
      <pc:sldChg chg="addSp modSp del mod">
        <pc:chgData name="Pierre CHAVANNE" userId="2e2e2412-eb49-4787-bd3d-d17adeb25e11" providerId="ADAL" clId="{8E769656-82DF-4740-BA14-9D4801EE0342}" dt="2023-12-11T10:56:56.466" v="3181" actId="47"/>
        <pc:sldMkLst>
          <pc:docMk/>
          <pc:sldMk cId="2197202711" sldId="260"/>
        </pc:sldMkLst>
        <pc:picChg chg="add mod">
          <ac:chgData name="Pierre CHAVANNE" userId="2e2e2412-eb49-4787-bd3d-d17adeb25e11" providerId="ADAL" clId="{8E769656-82DF-4740-BA14-9D4801EE0342}" dt="2023-12-11T10:09:25.535" v="1576" actId="14100"/>
          <ac:picMkLst>
            <pc:docMk/>
            <pc:sldMk cId="2197202711" sldId="260"/>
            <ac:picMk id="6" creationId="{0B57A0EE-5157-2AC7-0C4B-85495F2A9E36}"/>
          </ac:picMkLst>
        </pc:picChg>
      </pc:sldChg>
      <pc:sldChg chg="addSp delSp modSp mod">
        <pc:chgData name="Pierre CHAVANNE" userId="2e2e2412-eb49-4787-bd3d-d17adeb25e11" providerId="ADAL" clId="{8E769656-82DF-4740-BA14-9D4801EE0342}" dt="2023-12-11T12:50:57.550" v="7104" actId="20577"/>
        <pc:sldMkLst>
          <pc:docMk/>
          <pc:sldMk cId="4082308843" sldId="262"/>
        </pc:sldMkLst>
        <pc:spChg chg="mod">
          <ac:chgData name="Pierre CHAVANNE" userId="2e2e2412-eb49-4787-bd3d-d17adeb25e11" providerId="ADAL" clId="{8E769656-82DF-4740-BA14-9D4801EE0342}" dt="2023-12-11T10:49:30.036" v="2816" actId="1037"/>
          <ac:spMkLst>
            <pc:docMk/>
            <pc:sldMk cId="4082308843" sldId="262"/>
            <ac:spMk id="2" creationId="{E52B8373-62D1-544B-7A5C-41B622D6A38F}"/>
          </ac:spMkLst>
        </pc:spChg>
        <pc:spChg chg="del mod">
          <ac:chgData name="Pierre CHAVANNE" userId="2e2e2412-eb49-4787-bd3d-d17adeb25e11" providerId="ADAL" clId="{8E769656-82DF-4740-BA14-9D4801EE0342}" dt="2023-12-11T10:31:10.617" v="1838" actId="478"/>
          <ac:spMkLst>
            <pc:docMk/>
            <pc:sldMk cId="4082308843" sldId="262"/>
            <ac:spMk id="3" creationId="{03E5E2B5-68D7-C512-4F38-EEC22E20C105}"/>
          </ac:spMkLst>
        </pc:spChg>
        <pc:spChg chg="mod">
          <ac:chgData name="Pierre CHAVANNE" userId="2e2e2412-eb49-4787-bd3d-d17adeb25e11" providerId="ADAL" clId="{8E769656-82DF-4740-BA14-9D4801EE0342}" dt="2023-12-11T12:50:57.550" v="7104" actId="20577"/>
          <ac:spMkLst>
            <pc:docMk/>
            <pc:sldMk cId="4082308843" sldId="262"/>
            <ac:spMk id="4" creationId="{430F12B2-8A30-D6A2-6AC7-ABAE7B02E283}"/>
          </ac:spMkLst>
        </pc:spChg>
        <pc:spChg chg="del">
          <ac:chgData name="Pierre CHAVANNE" userId="2e2e2412-eb49-4787-bd3d-d17adeb25e11" providerId="ADAL" clId="{8E769656-82DF-4740-BA14-9D4801EE0342}" dt="2023-12-11T09:36:38.906" v="282" actId="478"/>
          <ac:spMkLst>
            <pc:docMk/>
            <pc:sldMk cId="4082308843" sldId="262"/>
            <ac:spMk id="5" creationId="{564F27D4-0A32-3D7C-B15B-87046F2C08DC}"/>
          </ac:spMkLst>
        </pc:spChg>
        <pc:cxnChg chg="add del mod">
          <ac:chgData name="Pierre CHAVANNE" userId="2e2e2412-eb49-4787-bd3d-d17adeb25e11" providerId="ADAL" clId="{8E769656-82DF-4740-BA14-9D4801EE0342}" dt="2023-12-11T10:41:29.681" v="2213" actId="478"/>
          <ac:cxnSpMkLst>
            <pc:docMk/>
            <pc:sldMk cId="4082308843" sldId="262"/>
            <ac:cxnSpMk id="8" creationId="{4CC1FEC9-64E8-8D69-7BE6-DE0140B216FA}"/>
          </ac:cxnSpMkLst>
        </pc:cxnChg>
        <pc:cxnChg chg="add del mod">
          <ac:chgData name="Pierre CHAVANNE" userId="2e2e2412-eb49-4787-bd3d-d17adeb25e11" providerId="ADAL" clId="{8E769656-82DF-4740-BA14-9D4801EE0342}" dt="2023-12-11T10:46:12.896" v="2637" actId="478"/>
          <ac:cxnSpMkLst>
            <pc:docMk/>
            <pc:sldMk cId="4082308843" sldId="262"/>
            <ac:cxnSpMk id="9" creationId="{CAE3560D-EEEC-2B7C-04B8-94CAA35F4197}"/>
          </ac:cxnSpMkLst>
        </pc:cxnChg>
        <pc:cxnChg chg="add del mod">
          <ac:chgData name="Pierre CHAVANNE" userId="2e2e2412-eb49-4787-bd3d-d17adeb25e11" providerId="ADAL" clId="{8E769656-82DF-4740-BA14-9D4801EE0342}" dt="2023-12-11T10:49:55.952" v="2817" actId="478"/>
          <ac:cxnSpMkLst>
            <pc:docMk/>
            <pc:sldMk cId="4082308843" sldId="262"/>
            <ac:cxnSpMk id="10" creationId="{3CAB8894-D50B-7C30-2E4B-953A2A3693C3}"/>
          </ac:cxnSpMkLst>
        </pc:cxnChg>
      </pc:sldChg>
      <pc:sldChg chg="addSp delSp modSp new mod ord">
        <pc:chgData name="Pierre CHAVANNE" userId="2e2e2412-eb49-4787-bd3d-d17adeb25e11" providerId="ADAL" clId="{8E769656-82DF-4740-BA14-9D4801EE0342}" dt="2023-12-11T15:19:33.301" v="11415" actId="1076"/>
        <pc:sldMkLst>
          <pc:docMk/>
          <pc:sldMk cId="2964386278" sldId="263"/>
        </pc:sldMkLst>
        <pc:spChg chg="mod">
          <ac:chgData name="Pierre CHAVANNE" userId="2e2e2412-eb49-4787-bd3d-d17adeb25e11" providerId="ADAL" clId="{8E769656-82DF-4740-BA14-9D4801EE0342}" dt="2023-12-11T10:29:45.270" v="1832" actId="1036"/>
          <ac:spMkLst>
            <pc:docMk/>
            <pc:sldMk cId="2964386278" sldId="263"/>
            <ac:spMk id="2" creationId="{280C2519-8BB3-2F7D-4555-40F725410B11}"/>
          </ac:spMkLst>
        </pc:spChg>
        <pc:spChg chg="mod">
          <ac:chgData name="Pierre CHAVANNE" userId="2e2e2412-eb49-4787-bd3d-d17adeb25e11" providerId="ADAL" clId="{8E769656-82DF-4740-BA14-9D4801EE0342}" dt="2023-12-11T09:33:53.742" v="154" actId="1076"/>
          <ac:spMkLst>
            <pc:docMk/>
            <pc:sldMk cId="2964386278" sldId="263"/>
            <ac:spMk id="3" creationId="{26BAED19-711E-BEB5-8E19-FB66663AC2AB}"/>
          </ac:spMkLst>
        </pc:spChg>
        <pc:spChg chg="add mod">
          <ac:chgData name="Pierre CHAVANNE" userId="2e2e2412-eb49-4787-bd3d-d17adeb25e11" providerId="ADAL" clId="{8E769656-82DF-4740-BA14-9D4801EE0342}" dt="2023-12-11T15:19:26.635" v="11413" actId="14100"/>
          <ac:spMkLst>
            <pc:docMk/>
            <pc:sldMk cId="2964386278" sldId="263"/>
            <ac:spMk id="5" creationId="{A5213FAA-6475-D02B-8027-FF6E764AAD7A}"/>
          </ac:spMkLst>
        </pc:spChg>
        <pc:spChg chg="add del mod">
          <ac:chgData name="Pierre CHAVANNE" userId="2e2e2412-eb49-4787-bd3d-d17adeb25e11" providerId="ADAL" clId="{8E769656-82DF-4740-BA14-9D4801EE0342}" dt="2023-12-11T15:16:43.006" v="11373" actId="478"/>
          <ac:spMkLst>
            <pc:docMk/>
            <pc:sldMk cId="2964386278" sldId="263"/>
            <ac:spMk id="8" creationId="{19CCD2DA-4B32-030A-2DC1-29AAE9BDEDE4}"/>
          </ac:spMkLst>
        </pc:spChg>
        <pc:spChg chg="add del mod">
          <ac:chgData name="Pierre CHAVANNE" userId="2e2e2412-eb49-4787-bd3d-d17adeb25e11" providerId="ADAL" clId="{8E769656-82DF-4740-BA14-9D4801EE0342}" dt="2023-12-11T10:28:17.649" v="1789" actId="478"/>
          <ac:spMkLst>
            <pc:docMk/>
            <pc:sldMk cId="2964386278" sldId="263"/>
            <ac:spMk id="8" creationId="{FBC6074B-AFE5-FA9A-115C-79E76A9B26BC}"/>
          </ac:spMkLst>
        </pc:spChg>
        <pc:spChg chg="add del mod">
          <ac:chgData name="Pierre CHAVANNE" userId="2e2e2412-eb49-4787-bd3d-d17adeb25e11" providerId="ADAL" clId="{8E769656-82DF-4740-BA14-9D4801EE0342}" dt="2023-12-11T15:16:43.939" v="11374" actId="478"/>
          <ac:spMkLst>
            <pc:docMk/>
            <pc:sldMk cId="2964386278" sldId="263"/>
            <ac:spMk id="9" creationId="{CAB7D54E-9E32-374E-374A-A5C4E746B93A}"/>
          </ac:spMkLst>
        </pc:spChg>
        <pc:spChg chg="add del mod">
          <ac:chgData name="Pierre CHAVANNE" userId="2e2e2412-eb49-4787-bd3d-d17adeb25e11" providerId="ADAL" clId="{8E769656-82DF-4740-BA14-9D4801EE0342}" dt="2023-12-11T15:17:40.470" v="11389" actId="478"/>
          <ac:spMkLst>
            <pc:docMk/>
            <pc:sldMk cId="2964386278" sldId="263"/>
            <ac:spMk id="10" creationId="{D168F3F8-4102-9906-AEAB-11AA8B21C8CF}"/>
          </ac:spMkLst>
        </pc:spChg>
        <pc:spChg chg="add del mod">
          <ac:chgData name="Pierre CHAVANNE" userId="2e2e2412-eb49-4787-bd3d-d17adeb25e11" providerId="ADAL" clId="{8E769656-82DF-4740-BA14-9D4801EE0342}" dt="2023-12-11T15:17:40.977" v="11390" actId="478"/>
          <ac:spMkLst>
            <pc:docMk/>
            <pc:sldMk cId="2964386278" sldId="263"/>
            <ac:spMk id="11" creationId="{93BEFD25-697D-07AA-1393-8984D990F277}"/>
          </ac:spMkLst>
        </pc:spChg>
        <pc:spChg chg="add del mod">
          <ac:chgData name="Pierre CHAVANNE" userId="2e2e2412-eb49-4787-bd3d-d17adeb25e11" providerId="ADAL" clId="{8E769656-82DF-4740-BA14-9D4801EE0342}" dt="2023-12-11T10:28:02.432" v="1788" actId="478"/>
          <ac:spMkLst>
            <pc:docMk/>
            <pc:sldMk cId="2964386278" sldId="263"/>
            <ac:spMk id="13" creationId="{0B8563BD-AB45-B7AE-9F4B-E1F58B5D33E1}"/>
          </ac:spMkLst>
        </pc:spChg>
        <pc:spChg chg="add mod">
          <ac:chgData name="Pierre CHAVANNE" userId="2e2e2412-eb49-4787-bd3d-d17adeb25e11" providerId="ADAL" clId="{8E769656-82DF-4740-BA14-9D4801EE0342}" dt="2023-12-11T15:19:24.574" v="11412" actId="14100"/>
          <ac:spMkLst>
            <pc:docMk/>
            <pc:sldMk cId="2964386278" sldId="263"/>
            <ac:spMk id="13" creationId="{C1532E47-4DA2-E6AC-27BE-25BE2AC4F3D3}"/>
          </ac:spMkLst>
        </pc:spChg>
        <pc:spChg chg="add mod ord">
          <ac:chgData name="Pierre CHAVANNE" userId="2e2e2412-eb49-4787-bd3d-d17adeb25e11" providerId="ADAL" clId="{8E769656-82DF-4740-BA14-9D4801EE0342}" dt="2023-12-11T15:14:23.261" v="11364" actId="14100"/>
          <ac:spMkLst>
            <pc:docMk/>
            <pc:sldMk cId="2964386278" sldId="263"/>
            <ac:spMk id="14" creationId="{8E03C77A-7B15-59B8-C6E5-1ECA0A33A2EE}"/>
          </ac:spMkLst>
        </pc:spChg>
        <pc:spChg chg="add mod">
          <ac:chgData name="Pierre CHAVANNE" userId="2e2e2412-eb49-4787-bd3d-d17adeb25e11" providerId="ADAL" clId="{8E769656-82DF-4740-BA14-9D4801EE0342}" dt="2023-12-11T15:19:07.514" v="11406" actId="14100"/>
          <ac:spMkLst>
            <pc:docMk/>
            <pc:sldMk cId="2964386278" sldId="263"/>
            <ac:spMk id="15" creationId="{C00BE6D4-7DEF-3EAB-9F92-380EB5516DD0}"/>
          </ac:spMkLst>
        </pc:spChg>
        <pc:grpChg chg="add del mod">
          <ac:chgData name="Pierre CHAVANNE" userId="2e2e2412-eb49-4787-bd3d-d17adeb25e11" providerId="ADAL" clId="{8E769656-82DF-4740-BA14-9D4801EE0342}" dt="2023-12-11T15:19:31.553" v="11414" actId="478"/>
          <ac:grpSpMkLst>
            <pc:docMk/>
            <pc:sldMk cId="2964386278" sldId="263"/>
            <ac:grpSpMk id="16" creationId="{46A89466-D990-AEC8-6429-09A9B2CF658C}"/>
          </ac:grpSpMkLst>
        </pc:grpChg>
        <pc:picChg chg="add mod">
          <ac:chgData name="Pierre CHAVANNE" userId="2e2e2412-eb49-4787-bd3d-d17adeb25e11" providerId="ADAL" clId="{8E769656-82DF-4740-BA14-9D4801EE0342}" dt="2023-12-11T10:30:04.260" v="1834" actId="1076"/>
          <ac:picMkLst>
            <pc:docMk/>
            <pc:sldMk cId="2964386278" sldId="263"/>
            <ac:picMk id="4" creationId="{DA9C6765-9134-4906-BF0A-2C0ACF8721D4}"/>
          </ac:picMkLst>
        </pc:picChg>
        <pc:picChg chg="add mod ord">
          <ac:chgData name="Pierre CHAVANNE" userId="2e2e2412-eb49-4787-bd3d-d17adeb25e11" providerId="ADAL" clId="{8E769656-82DF-4740-BA14-9D4801EE0342}" dt="2023-12-11T15:14:25.618" v="11365" actId="1076"/>
          <ac:picMkLst>
            <pc:docMk/>
            <pc:sldMk cId="2964386278" sldId="263"/>
            <ac:picMk id="6" creationId="{DE70728E-759A-571C-009A-719239202512}"/>
          </ac:picMkLst>
        </pc:picChg>
        <pc:picChg chg="add mod ord">
          <ac:chgData name="Pierre CHAVANNE" userId="2e2e2412-eb49-4787-bd3d-d17adeb25e11" providerId="ADAL" clId="{8E769656-82DF-4740-BA14-9D4801EE0342}" dt="2023-12-11T15:14:27.007" v="11366" actId="1076"/>
          <ac:picMkLst>
            <pc:docMk/>
            <pc:sldMk cId="2964386278" sldId="263"/>
            <ac:picMk id="7" creationId="{CD523F58-C667-257D-E3F4-F3C76381C5BF}"/>
          </ac:picMkLst>
        </pc:picChg>
        <pc:picChg chg="add del mod">
          <ac:chgData name="Pierre CHAVANNE" userId="2e2e2412-eb49-4787-bd3d-d17adeb25e11" providerId="ADAL" clId="{8E769656-82DF-4740-BA14-9D4801EE0342}" dt="2023-12-11T15:14:11.493" v="11360" actId="478"/>
          <ac:picMkLst>
            <pc:docMk/>
            <pc:sldMk cId="2964386278" sldId="263"/>
            <ac:picMk id="9" creationId="{CB75D265-BFAB-A5AB-D16B-AF0123BD31A7}"/>
          </ac:picMkLst>
        </pc:picChg>
        <pc:picChg chg="add del mod">
          <ac:chgData name="Pierre CHAVANNE" userId="2e2e2412-eb49-4787-bd3d-d17adeb25e11" providerId="ADAL" clId="{8E769656-82DF-4740-BA14-9D4801EE0342}" dt="2023-12-11T15:14:11.898" v="11361" actId="478"/>
          <ac:picMkLst>
            <pc:docMk/>
            <pc:sldMk cId="2964386278" sldId="263"/>
            <ac:picMk id="10" creationId="{1DB53D81-6C3F-C54A-FCE9-578A2AE13A0D}"/>
          </ac:picMkLst>
        </pc:picChg>
        <pc:picChg chg="add mod">
          <ac:chgData name="Pierre CHAVANNE" userId="2e2e2412-eb49-4787-bd3d-d17adeb25e11" providerId="ADAL" clId="{8E769656-82DF-4740-BA14-9D4801EE0342}" dt="2023-12-11T15:19:33.301" v="11415" actId="1076"/>
          <ac:picMkLst>
            <pc:docMk/>
            <pc:sldMk cId="2964386278" sldId="263"/>
            <ac:picMk id="12" creationId="{D292E5C9-5A15-B9AB-9DF3-5734DB7FFA03}"/>
          </ac:picMkLst>
        </pc:picChg>
        <pc:picChg chg="add del mod">
          <ac:chgData name="Pierre CHAVANNE" userId="2e2e2412-eb49-4787-bd3d-d17adeb25e11" providerId="ADAL" clId="{8E769656-82DF-4740-BA14-9D4801EE0342}" dt="2023-12-11T15:18:59.943" v="11404" actId="478"/>
          <ac:picMkLst>
            <pc:docMk/>
            <pc:sldMk cId="2964386278" sldId="263"/>
            <ac:picMk id="18" creationId="{BF7FD730-A5B3-918D-50E5-0AE5E49CA6C8}"/>
          </ac:picMkLst>
        </pc:picChg>
      </pc:sldChg>
      <pc:sldChg chg="addSp delSp modSp add mod">
        <pc:chgData name="Pierre CHAVANNE" userId="2e2e2412-eb49-4787-bd3d-d17adeb25e11" providerId="ADAL" clId="{8E769656-82DF-4740-BA14-9D4801EE0342}" dt="2023-12-11T10:50:11.499" v="2861" actId="478"/>
        <pc:sldMkLst>
          <pc:docMk/>
          <pc:sldMk cId="181288734" sldId="264"/>
        </pc:sldMkLst>
        <pc:spChg chg="mod">
          <ac:chgData name="Pierre CHAVANNE" userId="2e2e2412-eb49-4787-bd3d-d17adeb25e11" providerId="ADAL" clId="{8E769656-82DF-4740-BA14-9D4801EE0342}" dt="2023-12-11T10:50:03.106" v="2839" actId="1037"/>
          <ac:spMkLst>
            <pc:docMk/>
            <pc:sldMk cId="181288734" sldId="264"/>
            <ac:spMk id="2" creationId="{E52B8373-62D1-544B-7A5C-41B622D6A38F}"/>
          </ac:spMkLst>
        </pc:spChg>
        <pc:spChg chg="del">
          <ac:chgData name="Pierre CHAVANNE" userId="2e2e2412-eb49-4787-bd3d-d17adeb25e11" providerId="ADAL" clId="{8E769656-82DF-4740-BA14-9D4801EE0342}" dt="2023-12-11T10:41:40.427" v="2215" actId="478"/>
          <ac:spMkLst>
            <pc:docMk/>
            <pc:sldMk cId="181288734" sldId="264"/>
            <ac:spMk id="3" creationId="{03E5E2B5-68D7-C512-4F38-EEC22E20C105}"/>
          </ac:spMkLst>
        </pc:spChg>
        <pc:spChg chg="mod">
          <ac:chgData name="Pierre CHAVANNE" userId="2e2e2412-eb49-4787-bd3d-d17adeb25e11" providerId="ADAL" clId="{8E769656-82DF-4740-BA14-9D4801EE0342}" dt="2023-12-11T10:50:07.872" v="2860" actId="1038"/>
          <ac:spMkLst>
            <pc:docMk/>
            <pc:sldMk cId="181288734" sldId="264"/>
            <ac:spMk id="4" creationId="{430F12B2-8A30-D6A2-6AC7-ABAE7B02E283}"/>
          </ac:spMkLst>
        </pc:spChg>
        <pc:cxnChg chg="add del mod">
          <ac:chgData name="Pierre CHAVANNE" userId="2e2e2412-eb49-4787-bd3d-d17adeb25e11" providerId="ADAL" clId="{8E769656-82DF-4740-BA14-9D4801EE0342}" dt="2023-12-11T10:41:51.171" v="2231" actId="478"/>
          <ac:cxnSpMkLst>
            <pc:docMk/>
            <pc:sldMk cId="181288734" sldId="264"/>
            <ac:cxnSpMk id="5" creationId="{E0189C07-B3B2-463F-146C-8814FACD7881}"/>
          </ac:cxnSpMkLst>
        </pc:cxnChg>
        <pc:cxnChg chg="add del mod">
          <ac:chgData name="Pierre CHAVANNE" userId="2e2e2412-eb49-4787-bd3d-d17adeb25e11" providerId="ADAL" clId="{8E769656-82DF-4740-BA14-9D4801EE0342}" dt="2023-12-11T10:50:11.499" v="2861" actId="478"/>
          <ac:cxnSpMkLst>
            <pc:docMk/>
            <pc:sldMk cId="181288734" sldId="264"/>
            <ac:cxnSpMk id="7" creationId="{75C43A36-8F67-2423-25B0-CDEAB72BB297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1:10:07.685" v="4098" actId="113"/>
        <pc:sldMkLst>
          <pc:docMk/>
          <pc:sldMk cId="67575323" sldId="265"/>
        </pc:sldMkLst>
        <pc:spChg chg="mod">
          <ac:chgData name="Pierre CHAVANNE" userId="2e2e2412-eb49-4787-bd3d-d17adeb25e11" providerId="ADAL" clId="{8E769656-82DF-4740-BA14-9D4801EE0342}" dt="2023-12-11T10:50:21.948" v="2898" actId="1038"/>
          <ac:spMkLst>
            <pc:docMk/>
            <pc:sldMk cId="67575323" sldId="265"/>
            <ac:spMk id="2" creationId="{E52B8373-62D1-544B-7A5C-41B622D6A38F}"/>
          </ac:spMkLst>
        </pc:spChg>
        <pc:spChg chg="del">
          <ac:chgData name="Pierre CHAVANNE" userId="2e2e2412-eb49-4787-bd3d-d17adeb25e11" providerId="ADAL" clId="{8E769656-82DF-4740-BA14-9D4801EE0342}" dt="2023-12-11T10:41:55.602" v="2232" actId="478"/>
          <ac:spMkLst>
            <pc:docMk/>
            <pc:sldMk cId="67575323" sldId="265"/>
            <ac:spMk id="3" creationId="{03E5E2B5-68D7-C512-4F38-EEC22E20C105}"/>
          </ac:spMkLst>
        </pc:spChg>
        <pc:spChg chg="mod">
          <ac:chgData name="Pierre CHAVANNE" userId="2e2e2412-eb49-4787-bd3d-d17adeb25e11" providerId="ADAL" clId="{8E769656-82DF-4740-BA14-9D4801EE0342}" dt="2023-12-11T11:10:07.685" v="4098" actId="113"/>
          <ac:spMkLst>
            <pc:docMk/>
            <pc:sldMk cId="67575323" sldId="265"/>
            <ac:spMk id="4" creationId="{430F12B2-8A30-D6A2-6AC7-ABAE7B02E283}"/>
          </ac:spMkLst>
        </pc:spChg>
        <pc:cxnChg chg="add del mod">
          <ac:chgData name="Pierre CHAVANNE" userId="2e2e2412-eb49-4787-bd3d-d17adeb25e11" providerId="ADAL" clId="{8E769656-82DF-4740-BA14-9D4801EE0342}" dt="2023-12-11T10:42:09.636" v="2257" actId="478"/>
          <ac:cxnSpMkLst>
            <pc:docMk/>
            <pc:sldMk cId="67575323" sldId="265"/>
            <ac:cxnSpMk id="5" creationId="{6B43D0E9-A408-872B-660F-1BE02BE5F64A}"/>
          </ac:cxnSpMkLst>
        </pc:cxnChg>
        <pc:cxnChg chg="add del mod">
          <ac:chgData name="Pierre CHAVANNE" userId="2e2e2412-eb49-4787-bd3d-d17adeb25e11" providerId="ADAL" clId="{8E769656-82DF-4740-BA14-9D4801EE0342}" dt="2023-12-11T10:50:25.597" v="2899" actId="478"/>
          <ac:cxnSpMkLst>
            <pc:docMk/>
            <pc:sldMk cId="67575323" sldId="265"/>
            <ac:cxnSpMk id="7" creationId="{7217F0D5-B7EF-2DA2-0A25-89101838CF11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5:21:43.937" v="11631" actId="20577"/>
        <pc:sldMkLst>
          <pc:docMk/>
          <pc:sldMk cId="2725814262" sldId="266"/>
        </pc:sldMkLst>
        <pc:spChg chg="del">
          <ac:chgData name="Pierre CHAVANNE" userId="2e2e2412-eb49-4787-bd3d-d17adeb25e11" providerId="ADAL" clId="{8E769656-82DF-4740-BA14-9D4801EE0342}" dt="2023-12-11T09:37:59.482" v="325" actId="478"/>
          <ac:spMkLst>
            <pc:docMk/>
            <pc:sldMk cId="2725814262" sldId="266"/>
            <ac:spMk id="2" creationId="{E52B8373-62D1-544B-7A5C-41B622D6A38F}"/>
          </ac:spMkLst>
        </pc:spChg>
        <pc:spChg chg="del">
          <ac:chgData name="Pierre CHAVANNE" userId="2e2e2412-eb49-4787-bd3d-d17adeb25e11" providerId="ADAL" clId="{8E769656-82DF-4740-BA14-9D4801EE0342}" dt="2023-12-11T09:37:57.726" v="324" actId="478"/>
          <ac:spMkLst>
            <pc:docMk/>
            <pc:sldMk cId="2725814262" sldId="266"/>
            <ac:spMk id="3" creationId="{03E5E2B5-68D7-C512-4F38-EEC22E20C105}"/>
          </ac:spMkLst>
        </pc:spChg>
        <pc:spChg chg="mod">
          <ac:chgData name="Pierre CHAVANNE" userId="2e2e2412-eb49-4787-bd3d-d17adeb25e11" providerId="ADAL" clId="{8E769656-82DF-4740-BA14-9D4801EE0342}" dt="2023-12-11T15:21:43.937" v="11631" actId="20577"/>
          <ac:spMkLst>
            <pc:docMk/>
            <pc:sldMk cId="2725814262" sldId="266"/>
            <ac:spMk id="4" creationId="{430F12B2-8A30-D6A2-6AC7-ABAE7B02E283}"/>
          </ac:spMkLst>
        </pc:spChg>
        <pc:spChg chg="add del mod">
          <ac:chgData name="Pierre CHAVANNE" userId="2e2e2412-eb49-4787-bd3d-d17adeb25e11" providerId="ADAL" clId="{8E769656-82DF-4740-BA14-9D4801EE0342}" dt="2023-12-11T09:38:00.890" v="326" actId="478"/>
          <ac:spMkLst>
            <pc:docMk/>
            <pc:sldMk cId="2725814262" sldId="266"/>
            <ac:spMk id="7" creationId="{F9B53765-D822-708D-8AD3-5D46E8F0CF1F}"/>
          </ac:spMkLst>
        </pc:spChg>
        <pc:cxnChg chg="add del mod">
          <ac:chgData name="Pierre CHAVANNE" userId="2e2e2412-eb49-4787-bd3d-d17adeb25e11" providerId="ADAL" clId="{8E769656-82DF-4740-BA14-9D4801EE0342}" dt="2023-12-11T10:50:31.905" v="2901"/>
          <ac:cxnSpMkLst>
            <pc:docMk/>
            <pc:sldMk cId="2725814262" sldId="266"/>
            <ac:cxnSpMk id="8" creationId="{0D2B8F5C-5F0D-3664-2241-FD9BC942643F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5:22:29.230" v="11711"/>
        <pc:sldMkLst>
          <pc:docMk/>
          <pc:sldMk cId="4238583254" sldId="267"/>
        </pc:sldMkLst>
        <pc:spChg chg="mod">
          <ac:chgData name="Pierre CHAVANNE" userId="2e2e2412-eb49-4787-bd3d-d17adeb25e11" providerId="ADAL" clId="{8E769656-82DF-4740-BA14-9D4801EE0342}" dt="2023-12-11T10:50:38.175" v="2920" actId="1038"/>
          <ac:spMkLst>
            <pc:docMk/>
            <pc:sldMk cId="4238583254" sldId="267"/>
            <ac:spMk id="2" creationId="{E52B8373-62D1-544B-7A5C-41B622D6A38F}"/>
          </ac:spMkLst>
        </pc:spChg>
        <pc:spChg chg="del">
          <ac:chgData name="Pierre CHAVANNE" userId="2e2e2412-eb49-4787-bd3d-d17adeb25e11" providerId="ADAL" clId="{8E769656-82DF-4740-BA14-9D4801EE0342}" dt="2023-12-11T10:42:16.182" v="2259" actId="478"/>
          <ac:spMkLst>
            <pc:docMk/>
            <pc:sldMk cId="4238583254" sldId="267"/>
            <ac:spMk id="3" creationId="{03E5E2B5-68D7-C512-4F38-EEC22E20C105}"/>
          </ac:spMkLst>
        </pc:spChg>
        <pc:spChg chg="mod">
          <ac:chgData name="Pierre CHAVANNE" userId="2e2e2412-eb49-4787-bd3d-d17adeb25e11" providerId="ADAL" clId="{8E769656-82DF-4740-BA14-9D4801EE0342}" dt="2023-12-11T15:22:29.230" v="11711"/>
          <ac:spMkLst>
            <pc:docMk/>
            <pc:sldMk cId="4238583254" sldId="267"/>
            <ac:spMk id="4" creationId="{430F12B2-8A30-D6A2-6AC7-ABAE7B02E283}"/>
          </ac:spMkLst>
        </pc:spChg>
        <pc:cxnChg chg="add del mod">
          <ac:chgData name="Pierre CHAVANNE" userId="2e2e2412-eb49-4787-bd3d-d17adeb25e11" providerId="ADAL" clId="{8E769656-82DF-4740-BA14-9D4801EE0342}" dt="2023-12-11T10:42:23.211" v="2278" actId="478"/>
          <ac:cxnSpMkLst>
            <pc:docMk/>
            <pc:sldMk cId="4238583254" sldId="267"/>
            <ac:cxnSpMk id="5" creationId="{E516CCF6-2E3F-7C0B-FAE7-ADD60BABFAC4}"/>
          </ac:cxnSpMkLst>
        </pc:cxnChg>
        <pc:cxnChg chg="add del mod">
          <ac:chgData name="Pierre CHAVANNE" userId="2e2e2412-eb49-4787-bd3d-d17adeb25e11" providerId="ADAL" clId="{8E769656-82DF-4740-BA14-9D4801EE0342}" dt="2023-12-11T10:50:41.435" v="2921" actId="478"/>
          <ac:cxnSpMkLst>
            <pc:docMk/>
            <pc:sldMk cId="4238583254" sldId="267"/>
            <ac:cxnSpMk id="7" creationId="{A2909502-E70E-6211-B758-E2C0B65875AD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0:48:52.235" v="2760" actId="478"/>
        <pc:sldMkLst>
          <pc:docMk/>
          <pc:sldMk cId="2357043671" sldId="268"/>
        </pc:sldMkLst>
        <pc:spChg chg="mod">
          <ac:chgData name="Pierre CHAVANNE" userId="2e2e2412-eb49-4787-bd3d-d17adeb25e11" providerId="ADAL" clId="{8E769656-82DF-4740-BA14-9D4801EE0342}" dt="2023-12-11T10:46:56.739" v="2667" actId="1036"/>
          <ac:spMkLst>
            <pc:docMk/>
            <pc:sldMk cId="2357043671" sldId="268"/>
            <ac:spMk id="2" creationId="{E52B8373-62D1-544B-7A5C-41B622D6A38F}"/>
          </ac:spMkLst>
        </pc:spChg>
        <pc:spChg chg="del">
          <ac:chgData name="Pierre CHAVANNE" userId="2e2e2412-eb49-4787-bd3d-d17adeb25e11" providerId="ADAL" clId="{8E769656-82DF-4740-BA14-9D4801EE0342}" dt="2023-12-11T09:38:53.546" v="371" actId="478"/>
          <ac:spMkLst>
            <pc:docMk/>
            <pc:sldMk cId="2357043671" sldId="268"/>
            <ac:spMk id="3" creationId="{03E5E2B5-68D7-C512-4F38-EEC22E20C105}"/>
          </ac:spMkLst>
        </pc:spChg>
        <pc:spChg chg="del">
          <ac:chgData name="Pierre CHAVANNE" userId="2e2e2412-eb49-4787-bd3d-d17adeb25e11" providerId="ADAL" clId="{8E769656-82DF-4740-BA14-9D4801EE0342}" dt="2023-12-11T09:38:54.943" v="372" actId="478"/>
          <ac:spMkLst>
            <pc:docMk/>
            <pc:sldMk cId="2357043671" sldId="268"/>
            <ac:spMk id="4" creationId="{430F12B2-8A30-D6A2-6AC7-ABAE7B02E283}"/>
          </ac:spMkLst>
        </pc:spChg>
        <pc:spChg chg="add del mod">
          <ac:chgData name="Pierre CHAVANNE" userId="2e2e2412-eb49-4787-bd3d-d17adeb25e11" providerId="ADAL" clId="{8E769656-82DF-4740-BA14-9D4801EE0342}" dt="2023-12-11T09:38:56.900" v="373" actId="478"/>
          <ac:spMkLst>
            <pc:docMk/>
            <pc:sldMk cId="2357043671" sldId="268"/>
            <ac:spMk id="7" creationId="{CF2CD723-8FA4-17A2-5A7D-BEC5E42A4E6F}"/>
          </ac:spMkLst>
        </pc:spChg>
        <pc:spChg chg="add mod">
          <ac:chgData name="Pierre CHAVANNE" userId="2e2e2412-eb49-4787-bd3d-d17adeb25e11" providerId="ADAL" clId="{8E769656-82DF-4740-BA14-9D4801EE0342}" dt="2023-12-11T10:47:03.695" v="2668" actId="1076"/>
          <ac:spMkLst>
            <pc:docMk/>
            <pc:sldMk cId="2357043671" sldId="268"/>
            <ac:spMk id="8" creationId="{2F9FB4FF-81EC-1CDC-52DE-524663965391}"/>
          </ac:spMkLst>
        </pc:spChg>
        <pc:spChg chg="add mod">
          <ac:chgData name="Pierre CHAVANNE" userId="2e2e2412-eb49-4787-bd3d-d17adeb25e11" providerId="ADAL" clId="{8E769656-82DF-4740-BA14-9D4801EE0342}" dt="2023-12-11T10:47:20.059" v="2670" actId="1076"/>
          <ac:spMkLst>
            <pc:docMk/>
            <pc:sldMk cId="2357043671" sldId="268"/>
            <ac:spMk id="9" creationId="{61CD79CE-384D-F20B-7137-68B516B52B1D}"/>
          </ac:spMkLst>
        </pc:spChg>
        <pc:spChg chg="add del mod">
          <ac:chgData name="Pierre CHAVANNE" userId="2e2e2412-eb49-4787-bd3d-d17adeb25e11" providerId="ADAL" clId="{8E769656-82DF-4740-BA14-9D4801EE0342}" dt="2023-12-11T10:10:47.402" v="1587" actId="478"/>
          <ac:spMkLst>
            <pc:docMk/>
            <pc:sldMk cId="2357043671" sldId="268"/>
            <ac:spMk id="10" creationId="{2663E7D4-374A-30D6-0863-A49A3BADD20C}"/>
          </ac:spMkLst>
        </pc:spChg>
        <pc:picChg chg="add del mod">
          <ac:chgData name="Pierre CHAVANNE" userId="2e2e2412-eb49-4787-bd3d-d17adeb25e11" providerId="ADAL" clId="{8E769656-82DF-4740-BA14-9D4801EE0342}" dt="2023-12-11T10:10:47.870" v="1588" actId="478"/>
          <ac:picMkLst>
            <pc:docMk/>
            <pc:sldMk cId="2357043671" sldId="268"/>
            <ac:picMk id="11" creationId="{C9F4DD16-EBFF-215D-E31B-63083FF7255E}"/>
          </ac:picMkLst>
        </pc:picChg>
        <pc:picChg chg="add del mod">
          <ac:chgData name="Pierre CHAVANNE" userId="2e2e2412-eb49-4787-bd3d-d17adeb25e11" providerId="ADAL" clId="{8E769656-82DF-4740-BA14-9D4801EE0342}" dt="2023-12-11T10:10:48.377" v="1589" actId="478"/>
          <ac:picMkLst>
            <pc:docMk/>
            <pc:sldMk cId="2357043671" sldId="268"/>
            <ac:picMk id="12" creationId="{6475F7F1-AA55-C6BA-3379-072A7112FB5B}"/>
          </ac:picMkLst>
        </pc:picChg>
        <pc:picChg chg="add mod">
          <ac:chgData name="Pierre CHAVANNE" userId="2e2e2412-eb49-4787-bd3d-d17adeb25e11" providerId="ADAL" clId="{8E769656-82DF-4740-BA14-9D4801EE0342}" dt="2023-12-11T10:11:45.476" v="1652" actId="207"/>
          <ac:picMkLst>
            <pc:docMk/>
            <pc:sldMk cId="2357043671" sldId="268"/>
            <ac:picMk id="13" creationId="{7FB49E06-6225-686D-92D3-20CB5AC6E5D5}"/>
          </ac:picMkLst>
        </pc:picChg>
        <pc:cxnChg chg="add del mod">
          <ac:chgData name="Pierre CHAVANNE" userId="2e2e2412-eb49-4787-bd3d-d17adeb25e11" providerId="ADAL" clId="{8E769656-82DF-4740-BA14-9D4801EE0342}" dt="2023-12-11T10:48:52.235" v="2760" actId="478"/>
          <ac:cxnSpMkLst>
            <pc:docMk/>
            <pc:sldMk cId="2357043671" sldId="268"/>
            <ac:cxnSpMk id="14" creationId="{D7CABE47-2801-F070-5DBC-EC0F9BF401A1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1:19:32.874" v="4479" actId="6549"/>
        <pc:sldMkLst>
          <pc:docMk/>
          <pc:sldMk cId="2486415949" sldId="269"/>
        </pc:sldMkLst>
        <pc:spChg chg="mod">
          <ac:chgData name="Pierre CHAVANNE" userId="2e2e2412-eb49-4787-bd3d-d17adeb25e11" providerId="ADAL" clId="{8E769656-82DF-4740-BA14-9D4801EE0342}" dt="2023-12-11T10:51:04.613" v="2942" actId="1037"/>
          <ac:spMkLst>
            <pc:docMk/>
            <pc:sldMk cId="2486415949" sldId="269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0:51:04.613" v="2942" actId="1037"/>
          <ac:spMkLst>
            <pc:docMk/>
            <pc:sldMk cId="2486415949" sldId="269"/>
            <ac:spMk id="3" creationId="{03E5E2B5-68D7-C512-4F38-EEC22E20C105}"/>
          </ac:spMkLst>
        </pc:spChg>
        <pc:spChg chg="del mod">
          <ac:chgData name="Pierre CHAVANNE" userId="2e2e2412-eb49-4787-bd3d-d17adeb25e11" providerId="ADAL" clId="{8E769656-82DF-4740-BA14-9D4801EE0342}" dt="2023-12-11T11:18:23.023" v="4433" actId="478"/>
          <ac:spMkLst>
            <pc:docMk/>
            <pc:sldMk cId="2486415949" sldId="269"/>
            <ac:spMk id="4" creationId="{430F12B2-8A30-D6A2-6AC7-ABAE7B02E283}"/>
          </ac:spMkLst>
        </pc:spChg>
        <pc:spChg chg="add del mod">
          <ac:chgData name="Pierre CHAVANNE" userId="2e2e2412-eb49-4787-bd3d-d17adeb25e11" providerId="ADAL" clId="{8E769656-82DF-4740-BA14-9D4801EE0342}" dt="2023-12-11T10:53:31.862" v="2967"/>
          <ac:spMkLst>
            <pc:docMk/>
            <pc:sldMk cId="2486415949" sldId="269"/>
            <ac:spMk id="9" creationId="{BFA2137D-A045-CE75-FA66-CB303629C8E8}"/>
          </ac:spMkLst>
        </pc:spChg>
        <pc:spChg chg="add del mod">
          <ac:chgData name="Pierre CHAVANNE" userId="2e2e2412-eb49-4787-bd3d-d17adeb25e11" providerId="ADAL" clId="{8E769656-82DF-4740-BA14-9D4801EE0342}" dt="2023-12-11T11:18:25.382" v="4435" actId="478"/>
          <ac:spMkLst>
            <pc:docMk/>
            <pc:sldMk cId="2486415949" sldId="269"/>
            <ac:spMk id="11" creationId="{D42B2ECC-299E-DCD6-B364-1A445B02993D}"/>
          </ac:spMkLst>
        </pc:spChg>
        <pc:spChg chg="add mod">
          <ac:chgData name="Pierre CHAVANNE" userId="2e2e2412-eb49-4787-bd3d-d17adeb25e11" providerId="ADAL" clId="{8E769656-82DF-4740-BA14-9D4801EE0342}" dt="2023-12-11T11:19:32.874" v="4479" actId="6549"/>
          <ac:spMkLst>
            <pc:docMk/>
            <pc:sldMk cId="2486415949" sldId="269"/>
            <ac:spMk id="12" creationId="{DB21758E-0427-E0F2-26A1-74CB4E597C82}"/>
          </ac:spMkLst>
        </pc:spChg>
        <pc:picChg chg="add del mod ord">
          <ac:chgData name="Pierre CHAVANNE" userId="2e2e2412-eb49-4787-bd3d-d17adeb25e11" providerId="ADAL" clId="{8E769656-82DF-4740-BA14-9D4801EE0342}" dt="2023-12-11T11:16:39.894" v="4393" actId="478"/>
          <ac:picMkLst>
            <pc:docMk/>
            <pc:sldMk cId="2486415949" sldId="269"/>
            <ac:picMk id="5" creationId="{7BE3016E-514F-7E0E-8843-C13A0FF45837}"/>
          </ac:picMkLst>
        </pc:picChg>
        <pc:picChg chg="add mod">
          <ac:chgData name="Pierre CHAVANNE" userId="2e2e2412-eb49-4787-bd3d-d17adeb25e11" providerId="ADAL" clId="{8E769656-82DF-4740-BA14-9D4801EE0342}" dt="2023-12-11T11:18:35.759" v="4440" actId="1076"/>
          <ac:picMkLst>
            <pc:docMk/>
            <pc:sldMk cId="2486415949" sldId="269"/>
            <ac:picMk id="14" creationId="{C48F4905-60E1-DB4F-B9F1-BF1545B47875}"/>
          </ac:picMkLst>
        </pc:picChg>
        <pc:cxnChg chg="add del mod">
          <ac:chgData name="Pierre CHAVANNE" userId="2e2e2412-eb49-4787-bd3d-d17adeb25e11" providerId="ADAL" clId="{8E769656-82DF-4740-BA14-9D4801EE0342}" dt="2023-12-11T10:42:49.937" v="2323" actId="478"/>
          <ac:cxnSpMkLst>
            <pc:docMk/>
            <pc:sldMk cId="2486415949" sldId="269"/>
            <ac:cxnSpMk id="7" creationId="{62110ED8-080F-572D-1B61-97E1D4949DAE}"/>
          </ac:cxnSpMkLst>
        </pc:cxnChg>
        <pc:cxnChg chg="add del mod">
          <ac:chgData name="Pierre CHAVANNE" userId="2e2e2412-eb49-4787-bd3d-d17adeb25e11" providerId="ADAL" clId="{8E769656-82DF-4740-BA14-9D4801EE0342}" dt="2023-12-11T10:51:07.859" v="2943" actId="478"/>
          <ac:cxnSpMkLst>
            <pc:docMk/>
            <pc:sldMk cId="2486415949" sldId="269"/>
            <ac:cxnSpMk id="8" creationId="{A546A395-1BD9-344D-A09F-1F8AD0EC3C96}"/>
          </ac:cxnSpMkLst>
        </pc:cxnChg>
      </pc:sldChg>
      <pc:sldChg chg="new del">
        <pc:chgData name="Pierre CHAVANNE" userId="2e2e2412-eb49-4787-bd3d-d17adeb25e11" providerId="ADAL" clId="{8E769656-82DF-4740-BA14-9D4801EE0342}" dt="2023-12-11T09:39:07.166" v="375" actId="47"/>
        <pc:sldMkLst>
          <pc:docMk/>
          <pc:sldMk cId="2731858354" sldId="269"/>
        </pc:sldMkLst>
      </pc:sldChg>
      <pc:sldChg chg="addSp delSp modSp add mod ord">
        <pc:chgData name="Pierre CHAVANNE" userId="2e2e2412-eb49-4787-bd3d-d17adeb25e11" providerId="ADAL" clId="{8E769656-82DF-4740-BA14-9D4801EE0342}" dt="2023-12-11T11:19:13.127" v="4461" actId="20577"/>
        <pc:sldMkLst>
          <pc:docMk/>
          <pc:sldMk cId="3672889325" sldId="270"/>
        </pc:sldMkLst>
        <pc:spChg chg="mod">
          <ac:chgData name="Pierre CHAVANNE" userId="2e2e2412-eb49-4787-bd3d-d17adeb25e11" providerId="ADAL" clId="{8E769656-82DF-4740-BA14-9D4801EE0342}" dt="2023-12-11T10:51:18.367" v="2960" actId="1037"/>
          <ac:spMkLst>
            <pc:docMk/>
            <pc:sldMk cId="3672889325" sldId="270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0:51:18.367" v="2960" actId="1037"/>
          <ac:spMkLst>
            <pc:docMk/>
            <pc:sldMk cId="3672889325" sldId="270"/>
            <ac:spMk id="3" creationId="{03E5E2B5-68D7-C512-4F38-EEC22E20C105}"/>
          </ac:spMkLst>
        </pc:spChg>
        <pc:spChg chg="del mod">
          <ac:chgData name="Pierre CHAVANNE" userId="2e2e2412-eb49-4787-bd3d-d17adeb25e11" providerId="ADAL" clId="{8E769656-82DF-4740-BA14-9D4801EE0342}" dt="2023-12-11T10:51:44.530" v="2961" actId="478"/>
          <ac:spMkLst>
            <pc:docMk/>
            <pc:sldMk cId="3672889325" sldId="270"/>
            <ac:spMk id="4" creationId="{430F12B2-8A30-D6A2-6AC7-ABAE7B02E283}"/>
          </ac:spMkLst>
        </pc:spChg>
        <pc:spChg chg="add del mod">
          <ac:chgData name="Pierre CHAVANNE" userId="2e2e2412-eb49-4787-bd3d-d17adeb25e11" providerId="ADAL" clId="{8E769656-82DF-4740-BA14-9D4801EE0342}" dt="2023-12-11T10:51:47.304" v="2963" actId="478"/>
          <ac:spMkLst>
            <pc:docMk/>
            <pc:sldMk cId="3672889325" sldId="270"/>
            <ac:spMk id="11" creationId="{485189DC-830E-E32B-0B72-1CFC1D40C2A7}"/>
          </ac:spMkLst>
        </pc:spChg>
        <pc:spChg chg="add del mod">
          <ac:chgData name="Pierre CHAVANNE" userId="2e2e2412-eb49-4787-bd3d-d17adeb25e11" providerId="ADAL" clId="{8E769656-82DF-4740-BA14-9D4801EE0342}" dt="2023-12-11T11:16:51.911" v="4394" actId="478"/>
          <ac:spMkLst>
            <pc:docMk/>
            <pc:sldMk cId="3672889325" sldId="270"/>
            <ac:spMk id="12" creationId="{BCF07CB2-D224-B0B8-EC46-CF62216E438E}"/>
          </ac:spMkLst>
        </pc:spChg>
        <pc:spChg chg="add mod">
          <ac:chgData name="Pierre CHAVANNE" userId="2e2e2412-eb49-4787-bd3d-d17adeb25e11" providerId="ADAL" clId="{8E769656-82DF-4740-BA14-9D4801EE0342}" dt="2023-12-11T11:19:13.127" v="4461" actId="20577"/>
          <ac:spMkLst>
            <pc:docMk/>
            <pc:sldMk cId="3672889325" sldId="270"/>
            <ac:spMk id="13" creationId="{F438FE05-34B9-C7C6-ED32-9CBC00F932FF}"/>
          </ac:spMkLst>
        </pc:spChg>
        <pc:picChg chg="del">
          <ac:chgData name="Pierre CHAVANNE" userId="2e2e2412-eb49-4787-bd3d-d17adeb25e11" providerId="ADAL" clId="{8E769656-82DF-4740-BA14-9D4801EE0342}" dt="2023-12-11T09:41:05.640" v="466" actId="478"/>
          <ac:picMkLst>
            <pc:docMk/>
            <pc:sldMk cId="3672889325" sldId="270"/>
            <ac:picMk id="5" creationId="{7BE3016E-514F-7E0E-8843-C13A0FF45837}"/>
          </ac:picMkLst>
        </pc:picChg>
        <pc:picChg chg="add del mod">
          <ac:chgData name="Pierre CHAVANNE" userId="2e2e2412-eb49-4787-bd3d-d17adeb25e11" providerId="ADAL" clId="{8E769656-82DF-4740-BA14-9D4801EE0342}" dt="2023-12-11T11:16:37.990" v="4391" actId="478"/>
          <ac:picMkLst>
            <pc:docMk/>
            <pc:sldMk cId="3672889325" sldId="270"/>
            <ac:picMk id="7" creationId="{251FE3FA-BCAD-1EA3-9403-F40D2C42A727}"/>
          </ac:picMkLst>
        </pc:picChg>
        <pc:picChg chg="add mod">
          <ac:chgData name="Pierre CHAVANNE" userId="2e2e2412-eb49-4787-bd3d-d17adeb25e11" providerId="ADAL" clId="{8E769656-82DF-4740-BA14-9D4801EE0342}" dt="2023-12-11T11:17:13.063" v="4410" actId="1076"/>
          <ac:picMkLst>
            <pc:docMk/>
            <pc:sldMk cId="3672889325" sldId="270"/>
            <ac:picMk id="15" creationId="{C04F17B4-BA15-EEE0-0C5D-7384DD14D42B}"/>
          </ac:picMkLst>
        </pc:picChg>
        <pc:cxnChg chg="add del mod">
          <ac:chgData name="Pierre CHAVANNE" userId="2e2e2412-eb49-4787-bd3d-d17adeb25e11" providerId="ADAL" clId="{8E769656-82DF-4740-BA14-9D4801EE0342}" dt="2023-12-11T10:43:03.128" v="2362" actId="478"/>
          <ac:cxnSpMkLst>
            <pc:docMk/>
            <pc:sldMk cId="3672889325" sldId="270"/>
            <ac:cxnSpMk id="8" creationId="{3474A30A-F207-AA2A-F78C-64308E88BB2A}"/>
          </ac:cxnSpMkLst>
        </pc:cxnChg>
        <pc:cxnChg chg="add del mod">
          <ac:chgData name="Pierre CHAVANNE" userId="2e2e2412-eb49-4787-bd3d-d17adeb25e11" providerId="ADAL" clId="{8E769656-82DF-4740-BA14-9D4801EE0342}" dt="2023-12-11T10:53:38.362" v="2968" actId="478"/>
          <ac:cxnSpMkLst>
            <pc:docMk/>
            <pc:sldMk cId="3672889325" sldId="270"/>
            <ac:cxnSpMk id="9" creationId="{CD87F8EA-7B23-C96D-5B79-87780F6F8B44}"/>
          </ac:cxnSpMkLst>
        </pc:cxnChg>
      </pc:sldChg>
      <pc:sldChg chg="addSp delSp modSp add mod ord">
        <pc:chgData name="Pierre CHAVANNE" userId="2e2e2412-eb49-4787-bd3d-d17adeb25e11" providerId="ADAL" clId="{8E769656-82DF-4740-BA14-9D4801EE0342}" dt="2023-12-11T11:19:01.690" v="4457" actId="14100"/>
        <pc:sldMkLst>
          <pc:docMk/>
          <pc:sldMk cId="4144618837" sldId="271"/>
        </pc:sldMkLst>
        <pc:spChg chg="mod">
          <ac:chgData name="Pierre CHAVANNE" userId="2e2e2412-eb49-4787-bd3d-d17adeb25e11" providerId="ADAL" clId="{8E769656-82DF-4740-BA14-9D4801EE0342}" dt="2023-12-11T10:54:14.056" v="2998" actId="1038"/>
          <ac:spMkLst>
            <pc:docMk/>
            <pc:sldMk cId="4144618837" sldId="271"/>
            <ac:spMk id="2" creationId="{E52B8373-62D1-544B-7A5C-41B622D6A38F}"/>
          </ac:spMkLst>
        </pc:spChg>
        <pc:spChg chg="del">
          <ac:chgData name="Pierre CHAVANNE" userId="2e2e2412-eb49-4787-bd3d-d17adeb25e11" providerId="ADAL" clId="{8E769656-82DF-4740-BA14-9D4801EE0342}" dt="2023-12-11T09:41:27.710" v="488" actId="478"/>
          <ac:spMkLst>
            <pc:docMk/>
            <pc:sldMk cId="4144618837" sldId="271"/>
            <ac:spMk id="3" creationId="{03E5E2B5-68D7-C512-4F38-EEC22E20C105}"/>
          </ac:spMkLst>
        </pc:spChg>
        <pc:spChg chg="del mod">
          <ac:chgData name="Pierre CHAVANNE" userId="2e2e2412-eb49-4787-bd3d-d17adeb25e11" providerId="ADAL" clId="{8E769656-82DF-4740-BA14-9D4801EE0342}" dt="2023-12-11T10:52:06.721" v="2964" actId="478"/>
          <ac:spMkLst>
            <pc:docMk/>
            <pc:sldMk cId="4144618837" sldId="271"/>
            <ac:spMk id="4" creationId="{430F12B2-8A30-D6A2-6AC7-ABAE7B02E283}"/>
          </ac:spMkLst>
        </pc:spChg>
        <pc:spChg chg="add mod">
          <ac:chgData name="Pierre CHAVANNE" userId="2e2e2412-eb49-4787-bd3d-d17adeb25e11" providerId="ADAL" clId="{8E769656-82DF-4740-BA14-9D4801EE0342}" dt="2023-12-11T10:54:14.056" v="2998" actId="1038"/>
          <ac:spMkLst>
            <pc:docMk/>
            <pc:sldMk cId="4144618837" sldId="271"/>
            <ac:spMk id="8" creationId="{7BB7C057-C6A3-1E4D-E22A-BD82F2D7641D}"/>
          </ac:spMkLst>
        </pc:spChg>
        <pc:spChg chg="add del mod">
          <ac:chgData name="Pierre CHAVANNE" userId="2e2e2412-eb49-4787-bd3d-d17adeb25e11" providerId="ADAL" clId="{8E769656-82DF-4740-BA14-9D4801EE0342}" dt="2023-12-11T10:52:08.125" v="2965" actId="478"/>
          <ac:spMkLst>
            <pc:docMk/>
            <pc:sldMk cId="4144618837" sldId="271"/>
            <ac:spMk id="11" creationId="{D631254D-6957-1248-BA9F-43F8EBD6C4C7}"/>
          </ac:spMkLst>
        </pc:spChg>
        <pc:spChg chg="add mod">
          <ac:chgData name="Pierre CHAVANNE" userId="2e2e2412-eb49-4787-bd3d-d17adeb25e11" providerId="ADAL" clId="{8E769656-82DF-4740-BA14-9D4801EE0342}" dt="2023-12-11T11:19:01.690" v="4457" actId="14100"/>
          <ac:spMkLst>
            <pc:docMk/>
            <pc:sldMk cId="4144618837" sldId="271"/>
            <ac:spMk id="13" creationId="{181D0185-7D87-97E0-06B8-05F5B69CE7DE}"/>
          </ac:spMkLst>
        </pc:spChg>
        <pc:picChg chg="add del mod">
          <ac:chgData name="Pierre CHAVANNE" userId="2e2e2412-eb49-4787-bd3d-d17adeb25e11" providerId="ADAL" clId="{8E769656-82DF-4740-BA14-9D4801EE0342}" dt="2023-12-11T11:16:38.978" v="4392" actId="478"/>
          <ac:picMkLst>
            <pc:docMk/>
            <pc:sldMk cId="4144618837" sldId="271"/>
            <ac:picMk id="5" creationId="{B4CFA727-9361-42AD-AF96-721CE39529EB}"/>
          </ac:picMkLst>
        </pc:picChg>
        <pc:picChg chg="del">
          <ac:chgData name="Pierre CHAVANNE" userId="2e2e2412-eb49-4787-bd3d-d17adeb25e11" providerId="ADAL" clId="{8E769656-82DF-4740-BA14-9D4801EE0342}" dt="2023-12-11T09:41:15.796" v="470" actId="478"/>
          <ac:picMkLst>
            <pc:docMk/>
            <pc:sldMk cId="4144618837" sldId="271"/>
            <ac:picMk id="7" creationId="{251FE3FA-BCAD-1EA3-9403-F40D2C42A727}"/>
          </ac:picMkLst>
        </pc:picChg>
        <pc:picChg chg="add mod">
          <ac:chgData name="Pierre CHAVANNE" userId="2e2e2412-eb49-4787-bd3d-d17adeb25e11" providerId="ADAL" clId="{8E769656-82DF-4740-BA14-9D4801EE0342}" dt="2023-12-11T11:17:39.196" v="4424" actId="1076"/>
          <ac:picMkLst>
            <pc:docMk/>
            <pc:sldMk cId="4144618837" sldId="271"/>
            <ac:picMk id="15" creationId="{FA8239E8-D811-C9C6-A29F-FCB2ED1799F5}"/>
          </ac:picMkLst>
        </pc:picChg>
        <pc:cxnChg chg="add del mod">
          <ac:chgData name="Pierre CHAVANNE" userId="2e2e2412-eb49-4787-bd3d-d17adeb25e11" providerId="ADAL" clId="{8E769656-82DF-4740-BA14-9D4801EE0342}" dt="2023-12-11T10:43:15.168" v="2400" actId="478"/>
          <ac:cxnSpMkLst>
            <pc:docMk/>
            <pc:sldMk cId="4144618837" sldId="271"/>
            <ac:cxnSpMk id="9" creationId="{68CAE417-FFEA-8F75-4920-F4011FB720D0}"/>
          </ac:cxnSpMkLst>
        </pc:cxnChg>
        <pc:cxnChg chg="add del mod">
          <ac:chgData name="Pierre CHAVANNE" userId="2e2e2412-eb49-4787-bd3d-d17adeb25e11" providerId="ADAL" clId="{8E769656-82DF-4740-BA14-9D4801EE0342}" dt="2023-12-11T10:54:17.439" v="2999" actId="478"/>
          <ac:cxnSpMkLst>
            <pc:docMk/>
            <pc:sldMk cId="4144618837" sldId="271"/>
            <ac:cxnSpMk id="12" creationId="{A10947EC-B56E-10A2-3F3C-1CB594CD820F}"/>
          </ac:cxnSpMkLst>
        </pc:cxnChg>
      </pc:sldChg>
      <pc:sldChg chg="addSp delSp modSp add mod ord">
        <pc:chgData name="Pierre CHAVANNE" userId="2e2e2412-eb49-4787-bd3d-d17adeb25e11" providerId="ADAL" clId="{8E769656-82DF-4740-BA14-9D4801EE0342}" dt="2023-12-11T11:19:17.143" v="4462" actId="20577"/>
        <pc:sldMkLst>
          <pc:docMk/>
          <pc:sldMk cId="499594855" sldId="272"/>
        </pc:sldMkLst>
        <pc:spChg chg="mod">
          <ac:chgData name="Pierre CHAVANNE" userId="2e2e2412-eb49-4787-bd3d-d17adeb25e11" providerId="ADAL" clId="{8E769656-82DF-4740-BA14-9D4801EE0342}" dt="2023-12-11T10:54:24.676" v="3017" actId="1037"/>
          <ac:spMkLst>
            <pc:docMk/>
            <pc:sldMk cId="499594855" sldId="272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1:19:17.143" v="4462" actId="20577"/>
          <ac:spMkLst>
            <pc:docMk/>
            <pc:sldMk cId="499594855" sldId="272"/>
            <ac:spMk id="4" creationId="{430F12B2-8A30-D6A2-6AC7-ABAE7B02E283}"/>
          </ac:spMkLst>
        </pc:spChg>
        <pc:spChg chg="add mod">
          <ac:chgData name="Pierre CHAVANNE" userId="2e2e2412-eb49-4787-bd3d-d17adeb25e11" providerId="ADAL" clId="{8E769656-82DF-4740-BA14-9D4801EE0342}" dt="2023-12-11T10:54:24.676" v="3017" actId="1037"/>
          <ac:spMkLst>
            <pc:docMk/>
            <pc:sldMk cId="499594855" sldId="272"/>
            <ac:spMk id="7" creationId="{6AD4CBD7-D9A7-169D-4153-387F366F0D29}"/>
          </ac:spMkLst>
        </pc:spChg>
        <pc:picChg chg="add del mod">
          <ac:chgData name="Pierre CHAVANNE" userId="2e2e2412-eb49-4787-bd3d-d17adeb25e11" providerId="ADAL" clId="{8E769656-82DF-4740-BA14-9D4801EE0342}" dt="2023-12-11T11:15:29.534" v="4377" actId="478"/>
          <ac:picMkLst>
            <pc:docMk/>
            <pc:sldMk cId="499594855" sldId="272"/>
            <ac:picMk id="3" creationId="{BECDDFD3-B784-BC4A-DBEA-D2483B274AD1}"/>
          </ac:picMkLst>
        </pc:picChg>
        <pc:picChg chg="del">
          <ac:chgData name="Pierre CHAVANNE" userId="2e2e2412-eb49-4787-bd3d-d17adeb25e11" providerId="ADAL" clId="{8E769656-82DF-4740-BA14-9D4801EE0342}" dt="2023-12-11T09:41:52.917" v="518" actId="478"/>
          <ac:picMkLst>
            <pc:docMk/>
            <pc:sldMk cId="499594855" sldId="272"/>
            <ac:picMk id="5" creationId="{B4CFA727-9361-42AD-AF96-721CE39529EB}"/>
          </ac:picMkLst>
        </pc:picChg>
        <pc:picChg chg="add mod">
          <ac:chgData name="Pierre CHAVANNE" userId="2e2e2412-eb49-4787-bd3d-d17adeb25e11" providerId="ADAL" clId="{8E769656-82DF-4740-BA14-9D4801EE0342}" dt="2023-12-11T11:15:57.035" v="4390" actId="1076"/>
          <ac:picMkLst>
            <pc:docMk/>
            <pc:sldMk cId="499594855" sldId="272"/>
            <ac:picMk id="11" creationId="{2E30D7B4-25AE-2B09-FF4A-C8697EC5D836}"/>
          </ac:picMkLst>
        </pc:picChg>
        <pc:cxnChg chg="add del mod">
          <ac:chgData name="Pierre CHAVANNE" userId="2e2e2412-eb49-4787-bd3d-d17adeb25e11" providerId="ADAL" clId="{8E769656-82DF-4740-BA14-9D4801EE0342}" dt="2023-12-11T10:43:27.745" v="2432" actId="478"/>
          <ac:cxnSpMkLst>
            <pc:docMk/>
            <pc:sldMk cId="499594855" sldId="272"/>
            <ac:cxnSpMk id="8" creationId="{1DB2F1E4-D94D-746E-96DF-852023B69E24}"/>
          </ac:cxnSpMkLst>
        </pc:cxnChg>
        <pc:cxnChg chg="add del mod">
          <ac:chgData name="Pierre CHAVANNE" userId="2e2e2412-eb49-4787-bd3d-d17adeb25e11" providerId="ADAL" clId="{8E769656-82DF-4740-BA14-9D4801EE0342}" dt="2023-12-11T10:54:26.565" v="3018" actId="478"/>
          <ac:cxnSpMkLst>
            <pc:docMk/>
            <pc:sldMk cId="499594855" sldId="272"/>
            <ac:cxnSpMk id="9" creationId="{FA0122D4-D2A9-F4EF-453E-A9E75F8E22E1}"/>
          </ac:cxnSpMkLst>
        </pc:cxnChg>
      </pc:sldChg>
      <pc:sldChg chg="addSp delSp modSp add del mod">
        <pc:chgData name="Pierre CHAVANNE" userId="2e2e2412-eb49-4787-bd3d-d17adeb25e11" providerId="ADAL" clId="{8E769656-82DF-4740-BA14-9D4801EE0342}" dt="2023-12-11T10:47:59.523" v="2694" actId="47"/>
        <pc:sldMkLst>
          <pc:docMk/>
          <pc:sldMk cId="721891698" sldId="273"/>
        </pc:sldMkLst>
        <pc:spChg chg="mod">
          <ac:chgData name="Pierre CHAVANNE" userId="2e2e2412-eb49-4787-bd3d-d17adeb25e11" providerId="ADAL" clId="{8E769656-82DF-4740-BA14-9D4801EE0342}" dt="2023-12-11T09:42:55.362" v="596" actId="20577"/>
          <ac:spMkLst>
            <pc:docMk/>
            <pc:sldMk cId="721891698" sldId="273"/>
            <ac:spMk id="2" creationId="{E52B8373-62D1-544B-7A5C-41B622D6A38F}"/>
          </ac:spMkLst>
        </pc:spChg>
        <pc:spChg chg="add mod">
          <ac:chgData name="Pierre CHAVANNE" userId="2e2e2412-eb49-4787-bd3d-d17adeb25e11" providerId="ADAL" clId="{8E769656-82DF-4740-BA14-9D4801EE0342}" dt="2023-12-11T09:43:23.316" v="642" actId="14100"/>
          <ac:spMkLst>
            <pc:docMk/>
            <pc:sldMk cId="721891698" sldId="273"/>
            <ac:spMk id="3" creationId="{E705A79E-16A3-E045-2AA9-C06990D51039}"/>
          </ac:spMkLst>
        </pc:spChg>
        <pc:spChg chg="add mod">
          <ac:chgData name="Pierre CHAVANNE" userId="2e2e2412-eb49-4787-bd3d-d17adeb25e11" providerId="ADAL" clId="{8E769656-82DF-4740-BA14-9D4801EE0342}" dt="2023-12-11T10:11:53.256" v="1653"/>
          <ac:spMkLst>
            <pc:docMk/>
            <pc:sldMk cId="721891698" sldId="273"/>
            <ac:spMk id="4" creationId="{053DCC99-24C4-A623-8512-507DE33FB7FD}"/>
          </ac:spMkLst>
        </pc:spChg>
        <pc:picChg chg="add del mod">
          <ac:chgData name="Pierre CHAVANNE" userId="2e2e2412-eb49-4787-bd3d-d17adeb25e11" providerId="ADAL" clId="{8E769656-82DF-4740-BA14-9D4801EE0342}" dt="2023-12-11T10:11:56.055" v="1654" actId="478"/>
          <ac:picMkLst>
            <pc:docMk/>
            <pc:sldMk cId="721891698" sldId="273"/>
            <ac:picMk id="5" creationId="{35B52512-2DED-36A8-F10A-41638243231E}"/>
          </ac:picMkLst>
        </pc:picChg>
        <pc:picChg chg="add mod">
          <ac:chgData name="Pierre CHAVANNE" userId="2e2e2412-eb49-4787-bd3d-d17adeb25e11" providerId="ADAL" clId="{8E769656-82DF-4740-BA14-9D4801EE0342}" dt="2023-12-11T10:12:26.520" v="1672" actId="207"/>
          <ac:picMkLst>
            <pc:docMk/>
            <pc:sldMk cId="721891698" sldId="273"/>
            <ac:picMk id="7" creationId="{003781D5-56F8-BC22-E143-5DC7F5B24A64}"/>
          </ac:picMkLst>
        </pc:picChg>
      </pc:sldChg>
      <pc:sldChg chg="addSp delSp modSp add del mod">
        <pc:chgData name="Pierre CHAVANNE" userId="2e2e2412-eb49-4787-bd3d-d17adeb25e11" providerId="ADAL" clId="{8E769656-82DF-4740-BA14-9D4801EE0342}" dt="2023-12-11T10:48:39.978" v="2757" actId="47"/>
        <pc:sldMkLst>
          <pc:docMk/>
          <pc:sldMk cId="777855146" sldId="274"/>
        </pc:sldMkLst>
        <pc:spChg chg="mod">
          <ac:chgData name="Pierre CHAVANNE" userId="2e2e2412-eb49-4787-bd3d-d17adeb25e11" providerId="ADAL" clId="{8E769656-82DF-4740-BA14-9D4801EE0342}" dt="2023-12-11T09:44:36.383" v="827" actId="14100"/>
          <ac:spMkLst>
            <pc:docMk/>
            <pc:sldMk cId="777855146" sldId="274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09:57:21.942" v="1424" actId="14100"/>
          <ac:spMkLst>
            <pc:docMk/>
            <pc:sldMk cId="777855146" sldId="274"/>
            <ac:spMk id="3" creationId="{E705A79E-16A3-E045-2AA9-C06990D51039}"/>
          </ac:spMkLst>
        </pc:spChg>
        <pc:spChg chg="add mod">
          <ac:chgData name="Pierre CHAVANNE" userId="2e2e2412-eb49-4787-bd3d-d17adeb25e11" providerId="ADAL" clId="{8E769656-82DF-4740-BA14-9D4801EE0342}" dt="2023-12-11T10:12:36.969" v="1673"/>
          <ac:spMkLst>
            <pc:docMk/>
            <pc:sldMk cId="777855146" sldId="274"/>
            <ac:spMk id="4" creationId="{9BD60D75-5D74-B655-CEEF-56328F98ABAE}"/>
          </ac:spMkLst>
        </pc:spChg>
        <pc:picChg chg="add del mod">
          <ac:chgData name="Pierre CHAVANNE" userId="2e2e2412-eb49-4787-bd3d-d17adeb25e11" providerId="ADAL" clId="{8E769656-82DF-4740-BA14-9D4801EE0342}" dt="2023-12-11T10:12:39.121" v="1674" actId="478"/>
          <ac:picMkLst>
            <pc:docMk/>
            <pc:sldMk cId="777855146" sldId="274"/>
            <ac:picMk id="5" creationId="{FA837C1E-900A-5D2F-E46B-0CB12C8FC504}"/>
          </ac:picMkLst>
        </pc:picChg>
        <pc:picChg chg="add mod">
          <ac:chgData name="Pierre CHAVANNE" userId="2e2e2412-eb49-4787-bd3d-d17adeb25e11" providerId="ADAL" clId="{8E769656-82DF-4740-BA14-9D4801EE0342}" dt="2023-12-11T10:13:00.999" v="1676" actId="1076"/>
          <ac:picMkLst>
            <pc:docMk/>
            <pc:sldMk cId="777855146" sldId="274"/>
            <ac:picMk id="7" creationId="{EAB5CC44-1794-E5C5-478F-2A2AC6CF053E}"/>
          </ac:picMkLst>
        </pc:picChg>
      </pc:sldChg>
      <pc:sldChg chg="addSp delSp modSp add mod">
        <pc:chgData name="Pierre CHAVANNE" userId="2e2e2412-eb49-4787-bd3d-d17adeb25e11" providerId="ADAL" clId="{8E769656-82DF-4740-BA14-9D4801EE0342}" dt="2023-12-11T12:16:18.589" v="5204"/>
        <pc:sldMkLst>
          <pc:docMk/>
          <pc:sldMk cId="298777523" sldId="275"/>
        </pc:sldMkLst>
        <pc:spChg chg="mod">
          <ac:chgData name="Pierre CHAVANNE" userId="2e2e2412-eb49-4787-bd3d-d17adeb25e11" providerId="ADAL" clId="{8E769656-82DF-4740-BA14-9D4801EE0342}" dt="2023-12-11T10:54:38.076" v="3031" actId="1038"/>
          <ac:spMkLst>
            <pc:docMk/>
            <pc:sldMk cId="298777523" sldId="275"/>
            <ac:spMk id="2" creationId="{E52B8373-62D1-544B-7A5C-41B622D6A38F}"/>
          </ac:spMkLst>
        </pc:spChg>
        <pc:spChg chg="del mod">
          <ac:chgData name="Pierre CHAVANNE" userId="2e2e2412-eb49-4787-bd3d-d17adeb25e11" providerId="ADAL" clId="{8E769656-82DF-4740-BA14-9D4801EE0342}" dt="2023-12-11T12:07:52.761" v="4643" actId="478"/>
          <ac:spMkLst>
            <pc:docMk/>
            <pc:sldMk cId="298777523" sldId="275"/>
            <ac:spMk id="4" creationId="{430F12B2-8A30-D6A2-6AC7-ABAE7B02E283}"/>
          </ac:spMkLst>
        </pc:spChg>
        <pc:spChg chg="mod">
          <ac:chgData name="Pierre CHAVANNE" userId="2e2e2412-eb49-4787-bd3d-d17adeb25e11" providerId="ADAL" clId="{8E769656-82DF-4740-BA14-9D4801EE0342}" dt="2023-12-11T10:54:38.076" v="3031" actId="1038"/>
          <ac:spMkLst>
            <pc:docMk/>
            <pc:sldMk cId="298777523" sldId="275"/>
            <ac:spMk id="7" creationId="{6AD4CBD7-D9A7-169D-4153-387F366F0D29}"/>
          </ac:spMkLst>
        </pc:spChg>
        <pc:spChg chg="add mod">
          <ac:chgData name="Pierre CHAVANNE" userId="2e2e2412-eb49-4787-bd3d-d17adeb25e11" providerId="ADAL" clId="{8E769656-82DF-4740-BA14-9D4801EE0342}" dt="2023-12-11T12:16:03.074" v="5202" actId="1037"/>
          <ac:spMkLst>
            <pc:docMk/>
            <pc:sldMk cId="298777523" sldId="275"/>
            <ac:spMk id="9" creationId="{2FA19DED-FC42-5C03-5A67-076E5E493EC6}"/>
          </ac:spMkLst>
        </pc:spChg>
        <pc:spChg chg="add mod">
          <ac:chgData name="Pierre CHAVANNE" userId="2e2e2412-eb49-4787-bd3d-d17adeb25e11" providerId="ADAL" clId="{8E769656-82DF-4740-BA14-9D4801EE0342}" dt="2023-12-11T12:15:50.415" v="5196" actId="14100"/>
          <ac:spMkLst>
            <pc:docMk/>
            <pc:sldMk cId="298777523" sldId="275"/>
            <ac:spMk id="10" creationId="{18B9EFBA-7F92-0321-957B-DC732358BF5F}"/>
          </ac:spMkLst>
        </pc:spChg>
        <pc:spChg chg="add del mod">
          <ac:chgData name="Pierre CHAVANNE" userId="2e2e2412-eb49-4787-bd3d-d17adeb25e11" providerId="ADAL" clId="{8E769656-82DF-4740-BA14-9D4801EE0342}" dt="2023-12-11T12:07:54.783" v="4644" actId="478"/>
          <ac:spMkLst>
            <pc:docMk/>
            <pc:sldMk cId="298777523" sldId="275"/>
            <ac:spMk id="20" creationId="{42ABAF68-E031-2E1E-19F3-EF7233BD33D4}"/>
          </ac:spMkLst>
        </pc:spChg>
        <pc:picChg chg="del">
          <ac:chgData name="Pierre CHAVANNE" userId="2e2e2412-eb49-4787-bd3d-d17adeb25e11" providerId="ADAL" clId="{8E769656-82DF-4740-BA14-9D4801EE0342}" dt="2023-12-11T09:46:24.841" v="936" actId="478"/>
          <ac:picMkLst>
            <pc:docMk/>
            <pc:sldMk cId="298777523" sldId="275"/>
            <ac:picMk id="3" creationId="{BECDDFD3-B784-BC4A-DBEA-D2483B274AD1}"/>
          </ac:picMkLst>
        </pc:picChg>
        <pc:picChg chg="add del mod">
          <ac:chgData name="Pierre CHAVANNE" userId="2e2e2412-eb49-4787-bd3d-d17adeb25e11" providerId="ADAL" clId="{8E769656-82DF-4740-BA14-9D4801EE0342}" dt="2023-12-11T11:19:50.545" v="4480" actId="478"/>
          <ac:picMkLst>
            <pc:docMk/>
            <pc:sldMk cId="298777523" sldId="275"/>
            <ac:picMk id="5" creationId="{3ADCDBE3-8F22-7644-D52F-78E9BA59D639}"/>
          </ac:picMkLst>
        </pc:picChg>
        <pc:picChg chg="add del mod">
          <ac:chgData name="Pierre CHAVANNE" userId="2e2e2412-eb49-4787-bd3d-d17adeb25e11" providerId="ADAL" clId="{8E769656-82DF-4740-BA14-9D4801EE0342}" dt="2023-12-11T09:47:19.751" v="952" actId="478"/>
          <ac:picMkLst>
            <pc:docMk/>
            <pc:sldMk cId="298777523" sldId="275"/>
            <ac:picMk id="8" creationId="{71BD64D6-1FE8-CE6E-0F43-E23BAD0CC428}"/>
          </ac:picMkLst>
        </pc:picChg>
        <pc:picChg chg="add mod ord">
          <ac:chgData name="Pierre CHAVANNE" userId="2e2e2412-eb49-4787-bd3d-d17adeb25e11" providerId="ADAL" clId="{8E769656-82DF-4740-BA14-9D4801EE0342}" dt="2023-12-11T12:15:38.323" v="5194" actId="1076"/>
          <ac:picMkLst>
            <pc:docMk/>
            <pc:sldMk cId="298777523" sldId="275"/>
            <ac:picMk id="14" creationId="{138E1A5E-0028-327D-37F4-751A057584F4}"/>
          </ac:picMkLst>
        </pc:picChg>
        <pc:cxnChg chg="add del mod">
          <ac:chgData name="Pierre CHAVANNE" userId="2e2e2412-eb49-4787-bd3d-d17adeb25e11" providerId="ADAL" clId="{8E769656-82DF-4740-BA14-9D4801EE0342}" dt="2023-12-11T10:43:43.805" v="2454" actId="478"/>
          <ac:cxnSpMkLst>
            <pc:docMk/>
            <pc:sldMk cId="298777523" sldId="275"/>
            <ac:cxnSpMk id="11" creationId="{7CC1501C-EB59-5C43-8F3B-4DA229F6AD16}"/>
          </ac:cxnSpMkLst>
        </pc:cxnChg>
        <pc:cxnChg chg="add del mod">
          <ac:chgData name="Pierre CHAVANNE" userId="2e2e2412-eb49-4787-bd3d-d17adeb25e11" providerId="ADAL" clId="{8E769656-82DF-4740-BA14-9D4801EE0342}" dt="2023-12-11T10:54:41.742" v="3032" actId="478"/>
          <ac:cxnSpMkLst>
            <pc:docMk/>
            <pc:sldMk cId="298777523" sldId="275"/>
            <ac:cxnSpMk id="12" creationId="{3162535A-FAD7-538B-04FB-3BAAA6FCD31B}"/>
          </ac:cxnSpMkLst>
        </pc:cxnChg>
        <pc:cxnChg chg="add del mod">
          <ac:chgData name="Pierre CHAVANNE" userId="2e2e2412-eb49-4787-bd3d-d17adeb25e11" providerId="ADAL" clId="{8E769656-82DF-4740-BA14-9D4801EE0342}" dt="2023-12-11T12:15:01.090" v="5176" actId="478"/>
          <ac:cxnSpMkLst>
            <pc:docMk/>
            <pc:sldMk cId="298777523" sldId="275"/>
            <ac:cxnSpMk id="16" creationId="{D12D264B-FBEF-85C8-D666-B782E968DDEA}"/>
          </ac:cxnSpMkLst>
        </pc:cxnChg>
        <pc:cxnChg chg="add del mod">
          <ac:chgData name="Pierre CHAVANNE" userId="2e2e2412-eb49-4787-bd3d-d17adeb25e11" providerId="ADAL" clId="{8E769656-82DF-4740-BA14-9D4801EE0342}" dt="2023-12-11T12:15:01.090" v="5176" actId="478"/>
          <ac:cxnSpMkLst>
            <pc:docMk/>
            <pc:sldMk cId="298777523" sldId="275"/>
            <ac:cxnSpMk id="17" creationId="{11383E40-2BEA-6FCF-3367-03DC1C978FF8}"/>
          </ac:cxnSpMkLst>
        </pc:cxnChg>
        <pc:cxnChg chg="add del mod">
          <ac:chgData name="Pierre CHAVANNE" userId="2e2e2412-eb49-4787-bd3d-d17adeb25e11" providerId="ADAL" clId="{8E769656-82DF-4740-BA14-9D4801EE0342}" dt="2023-12-11T12:16:18.589" v="5204"/>
          <ac:cxnSpMkLst>
            <pc:docMk/>
            <pc:sldMk cId="298777523" sldId="275"/>
            <ac:cxnSpMk id="21" creationId="{9175B06C-EF0E-A816-6D48-9BACC33C8B92}"/>
          </ac:cxnSpMkLst>
        </pc:cxnChg>
        <pc:cxnChg chg="add del mod">
          <ac:chgData name="Pierre CHAVANNE" userId="2e2e2412-eb49-4787-bd3d-d17adeb25e11" providerId="ADAL" clId="{8E769656-82DF-4740-BA14-9D4801EE0342}" dt="2023-12-11T12:16:18.589" v="5204"/>
          <ac:cxnSpMkLst>
            <pc:docMk/>
            <pc:sldMk cId="298777523" sldId="275"/>
            <ac:cxnSpMk id="22" creationId="{EFFCB7E7-9415-6D92-614C-9865A6EB9AED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2:16:34.523" v="5216" actId="1076"/>
        <pc:sldMkLst>
          <pc:docMk/>
          <pc:sldMk cId="1172579897" sldId="276"/>
        </pc:sldMkLst>
        <pc:spChg chg="del">
          <ac:chgData name="Pierre CHAVANNE" userId="2e2e2412-eb49-4787-bd3d-d17adeb25e11" providerId="ADAL" clId="{8E769656-82DF-4740-BA14-9D4801EE0342}" dt="2023-12-11T09:48:17.867" v="967" actId="478"/>
          <ac:spMkLst>
            <pc:docMk/>
            <pc:sldMk cId="1172579897" sldId="276"/>
            <ac:spMk id="2" creationId="{E52B8373-62D1-544B-7A5C-41B622D6A38F}"/>
          </ac:spMkLst>
        </pc:spChg>
        <pc:spChg chg="del">
          <ac:chgData name="Pierre CHAVANNE" userId="2e2e2412-eb49-4787-bd3d-d17adeb25e11" providerId="ADAL" clId="{8E769656-82DF-4740-BA14-9D4801EE0342}" dt="2023-12-11T09:48:14.137" v="964" actId="478"/>
          <ac:spMkLst>
            <pc:docMk/>
            <pc:sldMk cId="1172579897" sldId="276"/>
            <ac:spMk id="4" creationId="{430F12B2-8A30-D6A2-6AC7-ABAE7B02E283}"/>
          </ac:spMkLst>
        </pc:spChg>
        <pc:spChg chg="del">
          <ac:chgData name="Pierre CHAVANNE" userId="2e2e2412-eb49-4787-bd3d-d17adeb25e11" providerId="ADAL" clId="{8E769656-82DF-4740-BA14-9D4801EE0342}" dt="2023-12-11T09:48:15.573" v="965" actId="478"/>
          <ac:spMkLst>
            <pc:docMk/>
            <pc:sldMk cId="1172579897" sldId="276"/>
            <ac:spMk id="7" creationId="{6AD4CBD7-D9A7-169D-4153-387F366F0D29}"/>
          </ac:spMkLst>
        </pc:spChg>
        <pc:spChg chg="add del mod">
          <ac:chgData name="Pierre CHAVANNE" userId="2e2e2412-eb49-4787-bd3d-d17adeb25e11" providerId="ADAL" clId="{8E769656-82DF-4740-BA14-9D4801EE0342}" dt="2023-12-11T09:48:20.489" v="969" actId="478"/>
          <ac:spMkLst>
            <pc:docMk/>
            <pc:sldMk cId="1172579897" sldId="276"/>
            <ac:spMk id="8" creationId="{8293C6A4-604A-45DA-1D7F-ECA1CAE9859F}"/>
          </ac:spMkLst>
        </pc:spChg>
        <pc:spChg chg="del mod">
          <ac:chgData name="Pierre CHAVANNE" userId="2e2e2412-eb49-4787-bd3d-d17adeb25e11" providerId="ADAL" clId="{8E769656-82DF-4740-BA14-9D4801EE0342}" dt="2023-12-11T09:48:11.023" v="962" actId="478"/>
          <ac:spMkLst>
            <pc:docMk/>
            <pc:sldMk cId="1172579897" sldId="276"/>
            <ac:spMk id="9" creationId="{2FA19DED-FC42-5C03-5A67-076E5E493EC6}"/>
          </ac:spMkLst>
        </pc:spChg>
        <pc:spChg chg="del">
          <ac:chgData name="Pierre CHAVANNE" userId="2e2e2412-eb49-4787-bd3d-d17adeb25e11" providerId="ADAL" clId="{8E769656-82DF-4740-BA14-9D4801EE0342}" dt="2023-12-11T09:48:12.540" v="963" actId="478"/>
          <ac:spMkLst>
            <pc:docMk/>
            <pc:sldMk cId="1172579897" sldId="276"/>
            <ac:spMk id="10" creationId="{18B9EFBA-7F92-0321-957B-DC732358BF5F}"/>
          </ac:spMkLst>
        </pc:spChg>
        <pc:spChg chg="add del mod">
          <ac:chgData name="Pierre CHAVANNE" userId="2e2e2412-eb49-4787-bd3d-d17adeb25e11" providerId="ADAL" clId="{8E769656-82DF-4740-BA14-9D4801EE0342}" dt="2023-12-11T09:48:16.622" v="966" actId="478"/>
          <ac:spMkLst>
            <pc:docMk/>
            <pc:sldMk cId="1172579897" sldId="276"/>
            <ac:spMk id="12" creationId="{56885543-6DD5-A800-0976-54F07145918D}"/>
          </ac:spMkLst>
        </pc:spChg>
        <pc:spChg chg="add del mod">
          <ac:chgData name="Pierre CHAVANNE" userId="2e2e2412-eb49-4787-bd3d-d17adeb25e11" providerId="ADAL" clId="{8E769656-82DF-4740-BA14-9D4801EE0342}" dt="2023-12-11T09:48:19.073" v="968" actId="478"/>
          <ac:spMkLst>
            <pc:docMk/>
            <pc:sldMk cId="1172579897" sldId="276"/>
            <ac:spMk id="14" creationId="{8BD4678A-C493-518E-DF9D-64FC9D3FFDEC}"/>
          </ac:spMkLst>
        </pc:spChg>
        <pc:picChg chg="del">
          <ac:chgData name="Pierre CHAVANNE" userId="2e2e2412-eb49-4787-bd3d-d17adeb25e11" providerId="ADAL" clId="{8E769656-82DF-4740-BA14-9D4801EE0342}" dt="2023-12-11T09:48:09.579" v="960" actId="478"/>
          <ac:picMkLst>
            <pc:docMk/>
            <pc:sldMk cId="1172579897" sldId="276"/>
            <ac:picMk id="5" creationId="{3ADCDBE3-8F22-7644-D52F-78E9BA59D639}"/>
          </ac:picMkLst>
        </pc:picChg>
        <pc:picChg chg="add del mod">
          <ac:chgData name="Pierre CHAVANNE" userId="2e2e2412-eb49-4787-bd3d-d17adeb25e11" providerId="ADAL" clId="{8E769656-82DF-4740-BA14-9D4801EE0342}" dt="2023-12-11T11:20:05.021" v="4485" actId="478"/>
          <ac:picMkLst>
            <pc:docMk/>
            <pc:sldMk cId="1172579897" sldId="276"/>
            <ac:picMk id="15" creationId="{2B834AC0-9EC1-BD50-6881-2E2AC49DD554}"/>
          </ac:picMkLst>
        </pc:picChg>
        <pc:picChg chg="add mod">
          <ac:chgData name="Pierre CHAVANNE" userId="2e2e2412-eb49-4787-bd3d-d17adeb25e11" providerId="ADAL" clId="{8E769656-82DF-4740-BA14-9D4801EE0342}" dt="2023-12-11T12:16:34.523" v="5216" actId="1076"/>
          <ac:picMkLst>
            <pc:docMk/>
            <pc:sldMk cId="1172579897" sldId="276"/>
            <ac:picMk id="17" creationId="{494E7569-F3FE-A823-D35D-D0088F7F9B66}"/>
          </ac:picMkLst>
        </pc:picChg>
      </pc:sldChg>
      <pc:sldChg chg="addSp delSp modSp add mod">
        <pc:chgData name="Pierre CHAVANNE" userId="2e2e2412-eb49-4787-bd3d-d17adeb25e11" providerId="ADAL" clId="{8E769656-82DF-4740-BA14-9D4801EE0342}" dt="2023-12-11T12:26:07.056" v="5744"/>
        <pc:sldMkLst>
          <pc:docMk/>
          <pc:sldMk cId="3913948229" sldId="277"/>
        </pc:sldMkLst>
        <pc:spChg chg="mod">
          <ac:chgData name="Pierre CHAVANNE" userId="2e2e2412-eb49-4787-bd3d-d17adeb25e11" providerId="ADAL" clId="{8E769656-82DF-4740-BA14-9D4801EE0342}" dt="2023-12-11T10:54:51.178" v="3051" actId="1037"/>
          <ac:spMkLst>
            <pc:docMk/>
            <pc:sldMk cId="3913948229" sldId="277"/>
            <ac:spMk id="2" creationId="{E52B8373-62D1-544B-7A5C-41B622D6A38F}"/>
          </ac:spMkLst>
        </pc:spChg>
        <pc:spChg chg="del">
          <ac:chgData name="Pierre CHAVANNE" userId="2e2e2412-eb49-4787-bd3d-d17adeb25e11" providerId="ADAL" clId="{8E769656-82DF-4740-BA14-9D4801EE0342}" dt="2023-12-11T12:17:15.590" v="5223" actId="478"/>
          <ac:spMkLst>
            <pc:docMk/>
            <pc:sldMk cId="3913948229" sldId="277"/>
            <ac:spMk id="4" creationId="{430F12B2-8A30-D6A2-6AC7-ABAE7B02E283}"/>
          </ac:spMkLst>
        </pc:spChg>
        <pc:spChg chg="mod">
          <ac:chgData name="Pierre CHAVANNE" userId="2e2e2412-eb49-4787-bd3d-d17adeb25e11" providerId="ADAL" clId="{8E769656-82DF-4740-BA14-9D4801EE0342}" dt="2023-12-11T10:54:51.178" v="3051" actId="1037"/>
          <ac:spMkLst>
            <pc:docMk/>
            <pc:sldMk cId="3913948229" sldId="277"/>
            <ac:spMk id="7" creationId="{6AD4CBD7-D9A7-169D-4153-387F366F0D29}"/>
          </ac:spMkLst>
        </pc:spChg>
        <pc:spChg chg="del">
          <ac:chgData name="Pierre CHAVANNE" userId="2e2e2412-eb49-4787-bd3d-d17adeb25e11" providerId="ADAL" clId="{8E769656-82DF-4740-BA14-9D4801EE0342}" dt="2023-12-11T09:49:30.373" v="1042" actId="478"/>
          <ac:spMkLst>
            <pc:docMk/>
            <pc:sldMk cId="3913948229" sldId="277"/>
            <ac:spMk id="9" creationId="{2FA19DED-FC42-5C03-5A67-076E5E493EC6}"/>
          </ac:spMkLst>
        </pc:spChg>
        <pc:spChg chg="mod">
          <ac:chgData name="Pierre CHAVANNE" userId="2e2e2412-eb49-4787-bd3d-d17adeb25e11" providerId="ADAL" clId="{8E769656-82DF-4740-BA14-9D4801EE0342}" dt="2023-12-11T12:25:49.245" v="5742" actId="20577"/>
          <ac:spMkLst>
            <pc:docMk/>
            <pc:sldMk cId="3913948229" sldId="277"/>
            <ac:spMk id="10" creationId="{18B9EFBA-7F92-0321-957B-DC732358BF5F}"/>
          </ac:spMkLst>
        </pc:spChg>
        <pc:spChg chg="add del mod">
          <ac:chgData name="Pierre CHAVANNE" userId="2e2e2412-eb49-4787-bd3d-d17adeb25e11" providerId="ADAL" clId="{8E769656-82DF-4740-BA14-9D4801EE0342}" dt="2023-12-11T12:17:16.690" v="5224" actId="478"/>
          <ac:spMkLst>
            <pc:docMk/>
            <pc:sldMk cId="3913948229" sldId="277"/>
            <ac:spMk id="15" creationId="{B768DAA2-66FD-D850-5D2A-0CDE5DA2D4D6}"/>
          </ac:spMkLst>
        </pc:spChg>
        <pc:picChg chg="add del mod ord">
          <ac:chgData name="Pierre CHAVANNE" userId="2e2e2412-eb49-4787-bd3d-d17adeb25e11" providerId="ADAL" clId="{8E769656-82DF-4740-BA14-9D4801EE0342}" dt="2023-12-11T11:20:11.260" v="4488" actId="478"/>
          <ac:picMkLst>
            <pc:docMk/>
            <pc:sldMk cId="3913948229" sldId="277"/>
            <ac:picMk id="3" creationId="{5F679ABB-2FB1-DF06-1071-B28953034105}"/>
          </ac:picMkLst>
        </pc:picChg>
        <pc:picChg chg="del">
          <ac:chgData name="Pierre CHAVANNE" userId="2e2e2412-eb49-4787-bd3d-d17adeb25e11" providerId="ADAL" clId="{8E769656-82DF-4740-BA14-9D4801EE0342}" dt="2023-12-11T09:49:08.878" v="1036" actId="478"/>
          <ac:picMkLst>
            <pc:docMk/>
            <pc:sldMk cId="3913948229" sldId="277"/>
            <ac:picMk id="5" creationId="{3ADCDBE3-8F22-7644-D52F-78E9BA59D639}"/>
          </ac:picMkLst>
        </pc:picChg>
        <pc:picChg chg="add mod ord">
          <ac:chgData name="Pierre CHAVANNE" userId="2e2e2412-eb49-4787-bd3d-d17adeb25e11" providerId="ADAL" clId="{8E769656-82DF-4740-BA14-9D4801EE0342}" dt="2023-12-11T12:17:33.564" v="5226" actId="1076"/>
          <ac:picMkLst>
            <pc:docMk/>
            <pc:sldMk cId="3913948229" sldId="277"/>
            <ac:picMk id="13" creationId="{63C19E91-09B4-A523-1D6E-B36372117003}"/>
          </ac:picMkLst>
        </pc:picChg>
        <pc:cxnChg chg="add del mod">
          <ac:chgData name="Pierre CHAVANNE" userId="2e2e2412-eb49-4787-bd3d-d17adeb25e11" providerId="ADAL" clId="{8E769656-82DF-4740-BA14-9D4801EE0342}" dt="2023-12-11T10:43:55.346" v="2479" actId="478"/>
          <ac:cxnSpMkLst>
            <pc:docMk/>
            <pc:sldMk cId="3913948229" sldId="277"/>
            <ac:cxnSpMk id="8" creationId="{49E13B0E-D847-8B0D-3A86-75953ABBC9BA}"/>
          </ac:cxnSpMkLst>
        </pc:cxnChg>
        <pc:cxnChg chg="add del mod">
          <ac:chgData name="Pierre CHAVANNE" userId="2e2e2412-eb49-4787-bd3d-d17adeb25e11" providerId="ADAL" clId="{8E769656-82DF-4740-BA14-9D4801EE0342}" dt="2023-12-11T10:54:53.024" v="3052" actId="478"/>
          <ac:cxnSpMkLst>
            <pc:docMk/>
            <pc:sldMk cId="3913948229" sldId="277"/>
            <ac:cxnSpMk id="11" creationId="{3F56EB2E-02F2-E9DA-A812-B7CB8C5F2415}"/>
          </ac:cxnSpMkLst>
        </pc:cxnChg>
        <pc:cxnChg chg="add del mod">
          <ac:chgData name="Pierre CHAVANNE" userId="2e2e2412-eb49-4787-bd3d-d17adeb25e11" providerId="ADAL" clId="{8E769656-82DF-4740-BA14-9D4801EE0342}" dt="2023-12-11T12:26:07.056" v="5744"/>
          <ac:cxnSpMkLst>
            <pc:docMk/>
            <pc:sldMk cId="3913948229" sldId="277"/>
            <ac:cxnSpMk id="16" creationId="{C425FDC8-F05B-840A-0A77-4C59D69F4D20}"/>
          </ac:cxnSpMkLst>
        </pc:cxnChg>
        <pc:cxnChg chg="add del mod">
          <ac:chgData name="Pierre CHAVANNE" userId="2e2e2412-eb49-4787-bd3d-d17adeb25e11" providerId="ADAL" clId="{8E769656-82DF-4740-BA14-9D4801EE0342}" dt="2023-12-11T12:26:07.056" v="5744"/>
          <ac:cxnSpMkLst>
            <pc:docMk/>
            <pc:sldMk cId="3913948229" sldId="277"/>
            <ac:cxnSpMk id="17" creationId="{B46F9282-8455-5B23-51FD-CF647F798CFA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2:41:31.632" v="6457" actId="20577"/>
        <pc:sldMkLst>
          <pc:docMk/>
          <pc:sldMk cId="255627525" sldId="278"/>
        </pc:sldMkLst>
        <pc:spChg chg="mod">
          <ac:chgData name="Pierre CHAVANNE" userId="2e2e2412-eb49-4787-bd3d-d17adeb25e11" providerId="ADAL" clId="{8E769656-82DF-4740-BA14-9D4801EE0342}" dt="2023-12-11T10:55:00.636" v="3067" actId="1037"/>
          <ac:spMkLst>
            <pc:docMk/>
            <pc:sldMk cId="255627525" sldId="278"/>
            <ac:spMk id="2" creationId="{E52B8373-62D1-544B-7A5C-41B622D6A38F}"/>
          </ac:spMkLst>
        </pc:spChg>
        <pc:spChg chg="del">
          <ac:chgData name="Pierre CHAVANNE" userId="2e2e2412-eb49-4787-bd3d-d17adeb25e11" providerId="ADAL" clId="{8E769656-82DF-4740-BA14-9D4801EE0342}" dt="2023-12-11T12:27:12.350" v="5765" actId="478"/>
          <ac:spMkLst>
            <pc:docMk/>
            <pc:sldMk cId="255627525" sldId="278"/>
            <ac:spMk id="4" creationId="{430F12B2-8A30-D6A2-6AC7-ABAE7B02E283}"/>
          </ac:spMkLst>
        </pc:spChg>
        <pc:spChg chg="mod">
          <ac:chgData name="Pierre CHAVANNE" userId="2e2e2412-eb49-4787-bd3d-d17adeb25e11" providerId="ADAL" clId="{8E769656-82DF-4740-BA14-9D4801EE0342}" dt="2023-12-11T10:55:00.636" v="3067" actId="1037"/>
          <ac:spMkLst>
            <pc:docMk/>
            <pc:sldMk cId="255627525" sldId="278"/>
            <ac:spMk id="7" creationId="{6AD4CBD7-D9A7-169D-4153-387F366F0D29}"/>
          </ac:spMkLst>
        </pc:spChg>
        <pc:spChg chg="add mod ord">
          <ac:chgData name="Pierre CHAVANNE" userId="2e2e2412-eb49-4787-bd3d-d17adeb25e11" providerId="ADAL" clId="{8E769656-82DF-4740-BA14-9D4801EE0342}" dt="2023-12-11T12:26:52.427" v="5764" actId="1076"/>
          <ac:spMkLst>
            <pc:docMk/>
            <pc:sldMk cId="255627525" sldId="278"/>
            <ac:spMk id="8" creationId="{A7E0981C-2EEF-66C7-6F0F-80077D499CD6}"/>
          </ac:spMkLst>
        </pc:spChg>
        <pc:spChg chg="mod">
          <ac:chgData name="Pierre CHAVANNE" userId="2e2e2412-eb49-4787-bd3d-d17adeb25e11" providerId="ADAL" clId="{8E769656-82DF-4740-BA14-9D4801EE0342}" dt="2023-12-11T12:41:31.632" v="6457" actId="20577"/>
          <ac:spMkLst>
            <pc:docMk/>
            <pc:sldMk cId="255627525" sldId="278"/>
            <ac:spMk id="10" creationId="{18B9EFBA-7F92-0321-957B-DC732358BF5F}"/>
          </ac:spMkLst>
        </pc:spChg>
        <pc:spChg chg="add del mod">
          <ac:chgData name="Pierre CHAVANNE" userId="2e2e2412-eb49-4787-bd3d-d17adeb25e11" providerId="ADAL" clId="{8E769656-82DF-4740-BA14-9D4801EE0342}" dt="2023-12-11T12:27:13.346" v="5766" actId="478"/>
          <ac:spMkLst>
            <pc:docMk/>
            <pc:sldMk cId="255627525" sldId="278"/>
            <ac:spMk id="15" creationId="{F2E93729-D152-F086-D969-35C1E44296AF}"/>
          </ac:spMkLst>
        </pc:spChg>
        <pc:picChg chg="del">
          <ac:chgData name="Pierre CHAVANNE" userId="2e2e2412-eb49-4787-bd3d-d17adeb25e11" providerId="ADAL" clId="{8E769656-82DF-4740-BA14-9D4801EE0342}" dt="2023-12-11T09:49:58.260" v="1064" actId="478"/>
          <ac:picMkLst>
            <pc:docMk/>
            <pc:sldMk cId="255627525" sldId="278"/>
            <ac:picMk id="3" creationId="{5F679ABB-2FB1-DF06-1071-B28953034105}"/>
          </ac:picMkLst>
        </pc:picChg>
        <pc:picChg chg="add del mod">
          <ac:chgData name="Pierre CHAVANNE" userId="2e2e2412-eb49-4787-bd3d-d17adeb25e11" providerId="ADAL" clId="{8E769656-82DF-4740-BA14-9D4801EE0342}" dt="2023-12-11T11:20:17.860" v="4492" actId="478"/>
          <ac:picMkLst>
            <pc:docMk/>
            <pc:sldMk cId="255627525" sldId="278"/>
            <ac:picMk id="5" creationId="{CF898350-5F87-586F-5F77-2266D63636AE}"/>
          </ac:picMkLst>
        </pc:picChg>
        <pc:picChg chg="add mod">
          <ac:chgData name="Pierre CHAVANNE" userId="2e2e2412-eb49-4787-bd3d-d17adeb25e11" providerId="ADAL" clId="{8E769656-82DF-4740-BA14-9D4801EE0342}" dt="2023-12-11T12:26:44.071" v="5762" actId="1037"/>
          <ac:picMkLst>
            <pc:docMk/>
            <pc:sldMk cId="255627525" sldId="278"/>
            <ac:picMk id="13" creationId="{DD8DFE15-0DC9-6EC2-9693-6D24F1EF3244}"/>
          </ac:picMkLst>
        </pc:picChg>
        <pc:cxnChg chg="add del mod">
          <ac:chgData name="Pierre CHAVANNE" userId="2e2e2412-eb49-4787-bd3d-d17adeb25e11" providerId="ADAL" clId="{8E769656-82DF-4740-BA14-9D4801EE0342}" dt="2023-12-11T10:44:05.914" v="2508" actId="478"/>
          <ac:cxnSpMkLst>
            <pc:docMk/>
            <pc:sldMk cId="255627525" sldId="278"/>
            <ac:cxnSpMk id="9" creationId="{BAFBADF3-D47E-13C8-A9EE-051A390F0B9C}"/>
          </ac:cxnSpMkLst>
        </pc:cxnChg>
        <pc:cxnChg chg="add del mod">
          <ac:chgData name="Pierre CHAVANNE" userId="2e2e2412-eb49-4787-bd3d-d17adeb25e11" providerId="ADAL" clId="{8E769656-82DF-4740-BA14-9D4801EE0342}" dt="2023-12-11T10:55:02.378" v="3068" actId="478"/>
          <ac:cxnSpMkLst>
            <pc:docMk/>
            <pc:sldMk cId="255627525" sldId="278"/>
            <ac:cxnSpMk id="11" creationId="{62F0830C-44E4-78EC-1690-AEC92BBB47A3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4:31:39.525" v="10012" actId="20577"/>
        <pc:sldMkLst>
          <pc:docMk/>
          <pc:sldMk cId="2495300835" sldId="279"/>
        </pc:sldMkLst>
        <pc:spChg chg="mod">
          <ac:chgData name="Pierre CHAVANNE" userId="2e2e2412-eb49-4787-bd3d-d17adeb25e11" providerId="ADAL" clId="{8E769656-82DF-4740-BA14-9D4801EE0342}" dt="2023-12-11T10:55:09.617" v="3087" actId="1037"/>
          <ac:spMkLst>
            <pc:docMk/>
            <pc:sldMk cId="2495300835" sldId="279"/>
            <ac:spMk id="2" creationId="{E52B8373-62D1-544B-7A5C-41B622D6A38F}"/>
          </ac:spMkLst>
        </pc:spChg>
        <pc:spChg chg="del">
          <ac:chgData name="Pierre CHAVANNE" userId="2e2e2412-eb49-4787-bd3d-d17adeb25e11" providerId="ADAL" clId="{8E769656-82DF-4740-BA14-9D4801EE0342}" dt="2023-12-11T12:42:57.618" v="6470" actId="478"/>
          <ac:spMkLst>
            <pc:docMk/>
            <pc:sldMk cId="2495300835" sldId="279"/>
            <ac:spMk id="4" creationId="{430F12B2-8A30-D6A2-6AC7-ABAE7B02E283}"/>
          </ac:spMkLst>
        </pc:spChg>
        <pc:spChg chg="mod">
          <ac:chgData name="Pierre CHAVANNE" userId="2e2e2412-eb49-4787-bd3d-d17adeb25e11" providerId="ADAL" clId="{8E769656-82DF-4740-BA14-9D4801EE0342}" dt="2023-12-11T12:43:37.342" v="6486" actId="20577"/>
          <ac:spMkLst>
            <pc:docMk/>
            <pc:sldMk cId="2495300835" sldId="279"/>
            <ac:spMk id="7" creationId="{6AD4CBD7-D9A7-169D-4153-387F366F0D29}"/>
          </ac:spMkLst>
        </pc:spChg>
        <pc:spChg chg="del">
          <ac:chgData name="Pierre CHAVANNE" userId="2e2e2412-eb49-4787-bd3d-d17adeb25e11" providerId="ADAL" clId="{8E769656-82DF-4740-BA14-9D4801EE0342}" dt="2023-12-11T12:44:21.870" v="6502" actId="478"/>
          <ac:spMkLst>
            <pc:docMk/>
            <pc:sldMk cId="2495300835" sldId="279"/>
            <ac:spMk id="9" creationId="{2FA19DED-FC42-5C03-5A67-076E5E493EC6}"/>
          </ac:spMkLst>
        </pc:spChg>
        <pc:spChg chg="mod">
          <ac:chgData name="Pierre CHAVANNE" userId="2e2e2412-eb49-4787-bd3d-d17adeb25e11" providerId="ADAL" clId="{8E769656-82DF-4740-BA14-9D4801EE0342}" dt="2023-12-11T14:31:39.525" v="10012" actId="20577"/>
          <ac:spMkLst>
            <pc:docMk/>
            <pc:sldMk cId="2495300835" sldId="279"/>
            <ac:spMk id="10" creationId="{18B9EFBA-7F92-0321-957B-DC732358BF5F}"/>
          </ac:spMkLst>
        </pc:spChg>
        <pc:spChg chg="add del mod">
          <ac:chgData name="Pierre CHAVANNE" userId="2e2e2412-eb49-4787-bd3d-d17adeb25e11" providerId="ADAL" clId="{8E769656-82DF-4740-BA14-9D4801EE0342}" dt="2023-12-11T12:42:58.957" v="6471" actId="478"/>
          <ac:spMkLst>
            <pc:docMk/>
            <pc:sldMk cId="2495300835" sldId="279"/>
            <ac:spMk id="15" creationId="{C4497E49-D55E-5FCC-0871-E37789FDBDAD}"/>
          </ac:spMkLst>
        </pc:spChg>
        <pc:picChg chg="add del mod ord">
          <ac:chgData name="Pierre CHAVANNE" userId="2e2e2412-eb49-4787-bd3d-d17adeb25e11" providerId="ADAL" clId="{8E769656-82DF-4740-BA14-9D4801EE0342}" dt="2023-12-11T11:20:25.392" v="4496" actId="478"/>
          <ac:picMkLst>
            <pc:docMk/>
            <pc:sldMk cId="2495300835" sldId="279"/>
            <ac:picMk id="3" creationId="{999802FB-4045-3BA3-F252-590C35E2DFB0}"/>
          </ac:picMkLst>
        </pc:picChg>
        <pc:picChg chg="del">
          <ac:chgData name="Pierre CHAVANNE" userId="2e2e2412-eb49-4787-bd3d-d17adeb25e11" providerId="ADAL" clId="{8E769656-82DF-4740-BA14-9D4801EE0342}" dt="2023-12-11T09:51:30.402" v="1118" actId="478"/>
          <ac:picMkLst>
            <pc:docMk/>
            <pc:sldMk cId="2495300835" sldId="279"/>
            <ac:picMk id="5" creationId="{3ADCDBE3-8F22-7644-D52F-78E9BA59D639}"/>
          </ac:picMkLst>
        </pc:picChg>
        <pc:picChg chg="add mod ord">
          <ac:chgData name="Pierre CHAVANNE" userId="2e2e2412-eb49-4787-bd3d-d17adeb25e11" providerId="ADAL" clId="{8E769656-82DF-4740-BA14-9D4801EE0342}" dt="2023-12-11T12:42:51.326" v="6469" actId="1035"/>
          <ac:picMkLst>
            <pc:docMk/>
            <pc:sldMk cId="2495300835" sldId="279"/>
            <ac:picMk id="13" creationId="{2EBB4F3A-E66D-08A2-DBAC-9B520D026A1C}"/>
          </ac:picMkLst>
        </pc:picChg>
        <pc:cxnChg chg="add del mod">
          <ac:chgData name="Pierre CHAVANNE" userId="2e2e2412-eb49-4787-bd3d-d17adeb25e11" providerId="ADAL" clId="{8E769656-82DF-4740-BA14-9D4801EE0342}" dt="2023-12-11T10:44:16.977" v="2530" actId="478"/>
          <ac:cxnSpMkLst>
            <pc:docMk/>
            <pc:sldMk cId="2495300835" sldId="279"/>
            <ac:cxnSpMk id="8" creationId="{21D6CC0C-456D-834B-2B19-7D599097AEDA}"/>
          </ac:cxnSpMkLst>
        </pc:cxnChg>
        <pc:cxnChg chg="add del mod">
          <ac:chgData name="Pierre CHAVANNE" userId="2e2e2412-eb49-4787-bd3d-d17adeb25e11" providerId="ADAL" clId="{8E769656-82DF-4740-BA14-9D4801EE0342}" dt="2023-12-11T10:55:12.689" v="3088" actId="478"/>
          <ac:cxnSpMkLst>
            <pc:docMk/>
            <pc:sldMk cId="2495300835" sldId="279"/>
            <ac:cxnSpMk id="11" creationId="{182066C5-C77D-A2A3-20F5-D68756E39837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2:43:57.780" v="6501" actId="1076"/>
        <pc:sldMkLst>
          <pc:docMk/>
          <pc:sldMk cId="39061736" sldId="280"/>
        </pc:sldMkLst>
        <pc:picChg chg="add del mod">
          <ac:chgData name="Pierre CHAVANNE" userId="2e2e2412-eb49-4787-bd3d-d17adeb25e11" providerId="ADAL" clId="{8E769656-82DF-4740-BA14-9D4801EE0342}" dt="2023-12-11T11:20:36.844" v="4501" actId="478"/>
          <ac:picMkLst>
            <pc:docMk/>
            <pc:sldMk cId="39061736" sldId="280"/>
            <ac:picMk id="2" creationId="{E6C41A31-5949-FF20-6896-ED559ED59C5F}"/>
          </ac:picMkLst>
        </pc:picChg>
        <pc:picChg chg="add mod">
          <ac:chgData name="Pierre CHAVANNE" userId="2e2e2412-eb49-4787-bd3d-d17adeb25e11" providerId="ADAL" clId="{8E769656-82DF-4740-BA14-9D4801EE0342}" dt="2023-12-11T12:43:57.780" v="6501" actId="1076"/>
          <ac:picMkLst>
            <pc:docMk/>
            <pc:sldMk cId="39061736" sldId="280"/>
            <ac:picMk id="4" creationId="{96DFA70C-C169-561E-F0D6-6A1638CC1392}"/>
          </ac:picMkLst>
        </pc:picChg>
        <pc:picChg chg="del">
          <ac:chgData name="Pierre CHAVANNE" userId="2e2e2412-eb49-4787-bd3d-d17adeb25e11" providerId="ADAL" clId="{8E769656-82DF-4740-BA14-9D4801EE0342}" dt="2023-12-11T09:51:53.009" v="1125" actId="478"/>
          <ac:picMkLst>
            <pc:docMk/>
            <pc:sldMk cId="39061736" sldId="280"/>
            <ac:picMk id="15" creationId="{2B834AC0-9EC1-BD50-6881-2E2AC49DD554}"/>
          </ac:picMkLst>
        </pc:picChg>
      </pc:sldChg>
      <pc:sldChg chg="addSp delSp modSp add mod">
        <pc:chgData name="Pierre CHAVANNE" userId="2e2e2412-eb49-4787-bd3d-d17adeb25e11" providerId="ADAL" clId="{8E769656-82DF-4740-BA14-9D4801EE0342}" dt="2023-12-11T12:50:47.870" v="7097" actId="1076"/>
        <pc:sldMkLst>
          <pc:docMk/>
          <pc:sldMk cId="968674742" sldId="281"/>
        </pc:sldMkLst>
        <pc:spChg chg="mod">
          <ac:chgData name="Pierre CHAVANNE" userId="2e2e2412-eb49-4787-bd3d-d17adeb25e11" providerId="ADAL" clId="{8E769656-82DF-4740-BA14-9D4801EE0342}" dt="2023-12-11T10:55:20.016" v="3101" actId="1037"/>
          <ac:spMkLst>
            <pc:docMk/>
            <pc:sldMk cId="968674742" sldId="281"/>
            <ac:spMk id="2" creationId="{E52B8373-62D1-544B-7A5C-41B622D6A38F}"/>
          </ac:spMkLst>
        </pc:spChg>
        <pc:spChg chg="del">
          <ac:chgData name="Pierre CHAVANNE" userId="2e2e2412-eb49-4787-bd3d-d17adeb25e11" providerId="ADAL" clId="{8E769656-82DF-4740-BA14-9D4801EE0342}" dt="2023-12-11T12:46:50.249" v="6680" actId="478"/>
          <ac:spMkLst>
            <pc:docMk/>
            <pc:sldMk cId="968674742" sldId="281"/>
            <ac:spMk id="4" creationId="{430F12B2-8A30-D6A2-6AC7-ABAE7B02E283}"/>
          </ac:spMkLst>
        </pc:spChg>
        <pc:spChg chg="mod">
          <ac:chgData name="Pierre CHAVANNE" userId="2e2e2412-eb49-4787-bd3d-d17adeb25e11" providerId="ADAL" clId="{8E769656-82DF-4740-BA14-9D4801EE0342}" dt="2023-12-11T12:43:44.236" v="6492" actId="20577"/>
          <ac:spMkLst>
            <pc:docMk/>
            <pc:sldMk cId="968674742" sldId="281"/>
            <ac:spMk id="7" creationId="{6AD4CBD7-D9A7-169D-4153-387F366F0D29}"/>
          </ac:spMkLst>
        </pc:spChg>
        <pc:spChg chg="del">
          <ac:chgData name="Pierre CHAVANNE" userId="2e2e2412-eb49-4787-bd3d-d17adeb25e11" providerId="ADAL" clId="{8E769656-82DF-4740-BA14-9D4801EE0342}" dt="2023-12-11T09:52:20.267" v="1146" actId="478"/>
          <ac:spMkLst>
            <pc:docMk/>
            <pc:sldMk cId="968674742" sldId="281"/>
            <ac:spMk id="9" creationId="{2FA19DED-FC42-5C03-5A67-076E5E493EC6}"/>
          </ac:spMkLst>
        </pc:spChg>
        <pc:spChg chg="mod">
          <ac:chgData name="Pierre CHAVANNE" userId="2e2e2412-eb49-4787-bd3d-d17adeb25e11" providerId="ADAL" clId="{8E769656-82DF-4740-BA14-9D4801EE0342}" dt="2023-12-11T12:50:47.870" v="7097" actId="1076"/>
          <ac:spMkLst>
            <pc:docMk/>
            <pc:sldMk cId="968674742" sldId="281"/>
            <ac:spMk id="10" creationId="{18B9EFBA-7F92-0321-957B-DC732358BF5F}"/>
          </ac:spMkLst>
        </pc:spChg>
        <pc:spChg chg="add del mod">
          <ac:chgData name="Pierre CHAVANNE" userId="2e2e2412-eb49-4787-bd3d-d17adeb25e11" providerId="ADAL" clId="{8E769656-82DF-4740-BA14-9D4801EE0342}" dt="2023-12-11T12:46:51.356" v="6681" actId="478"/>
          <ac:spMkLst>
            <pc:docMk/>
            <pc:sldMk cId="968674742" sldId="281"/>
            <ac:spMk id="15" creationId="{9386C814-D198-E241-FF02-9EF6CB1BB423}"/>
          </ac:spMkLst>
        </pc:spChg>
        <pc:picChg chg="del">
          <ac:chgData name="Pierre CHAVANNE" userId="2e2e2412-eb49-4787-bd3d-d17adeb25e11" providerId="ADAL" clId="{8E769656-82DF-4740-BA14-9D4801EE0342}" dt="2023-12-11T09:52:19.064" v="1145" actId="478"/>
          <ac:picMkLst>
            <pc:docMk/>
            <pc:sldMk cId="968674742" sldId="281"/>
            <ac:picMk id="3" creationId="{999802FB-4045-3BA3-F252-590C35E2DFB0}"/>
          </ac:picMkLst>
        </pc:picChg>
        <pc:picChg chg="add del mod">
          <ac:chgData name="Pierre CHAVANNE" userId="2e2e2412-eb49-4787-bd3d-d17adeb25e11" providerId="ADAL" clId="{8E769656-82DF-4740-BA14-9D4801EE0342}" dt="2023-12-11T11:20:42.518" v="4504" actId="478"/>
          <ac:picMkLst>
            <pc:docMk/>
            <pc:sldMk cId="968674742" sldId="281"/>
            <ac:picMk id="5" creationId="{F0B203F3-EB6A-970F-D45F-F66C94F3090B}"/>
          </ac:picMkLst>
        </pc:picChg>
        <pc:picChg chg="add mod">
          <ac:chgData name="Pierre CHAVANNE" userId="2e2e2412-eb49-4787-bd3d-d17adeb25e11" providerId="ADAL" clId="{8E769656-82DF-4740-BA14-9D4801EE0342}" dt="2023-12-11T12:46:47.861" v="6679" actId="1076"/>
          <ac:picMkLst>
            <pc:docMk/>
            <pc:sldMk cId="968674742" sldId="281"/>
            <ac:picMk id="13" creationId="{29690F35-3B5B-932E-27B9-5D61468D063B}"/>
          </ac:picMkLst>
        </pc:picChg>
        <pc:cxnChg chg="add del mod">
          <ac:chgData name="Pierre CHAVANNE" userId="2e2e2412-eb49-4787-bd3d-d17adeb25e11" providerId="ADAL" clId="{8E769656-82DF-4740-BA14-9D4801EE0342}" dt="2023-12-11T10:44:27.733" v="2554" actId="478"/>
          <ac:cxnSpMkLst>
            <pc:docMk/>
            <pc:sldMk cId="968674742" sldId="281"/>
            <ac:cxnSpMk id="8" creationId="{520FB2B0-3ED6-607C-A6D3-FFC0D9A23613}"/>
          </ac:cxnSpMkLst>
        </pc:cxnChg>
        <pc:cxnChg chg="add del mod">
          <ac:chgData name="Pierre CHAVANNE" userId="2e2e2412-eb49-4787-bd3d-d17adeb25e11" providerId="ADAL" clId="{8E769656-82DF-4740-BA14-9D4801EE0342}" dt="2023-12-11T10:55:23.226" v="3102" actId="478"/>
          <ac:cxnSpMkLst>
            <pc:docMk/>
            <pc:sldMk cId="968674742" sldId="281"/>
            <ac:cxnSpMk id="11" creationId="{0DFC1805-15C8-3CB4-3643-61967AB8E58A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2:51:19.883" v="7112" actId="1076"/>
        <pc:sldMkLst>
          <pc:docMk/>
          <pc:sldMk cId="145152880" sldId="282"/>
        </pc:sldMkLst>
        <pc:picChg chg="del">
          <ac:chgData name="Pierre CHAVANNE" userId="2e2e2412-eb49-4787-bd3d-d17adeb25e11" providerId="ADAL" clId="{8E769656-82DF-4740-BA14-9D4801EE0342}" dt="2023-12-11T09:52:34.106" v="1152" actId="478"/>
          <ac:picMkLst>
            <pc:docMk/>
            <pc:sldMk cId="145152880" sldId="282"/>
            <ac:picMk id="2" creationId="{E6C41A31-5949-FF20-6896-ED559ED59C5F}"/>
          </ac:picMkLst>
        </pc:picChg>
        <pc:picChg chg="add del mod">
          <ac:chgData name="Pierre CHAVANNE" userId="2e2e2412-eb49-4787-bd3d-d17adeb25e11" providerId="ADAL" clId="{8E769656-82DF-4740-BA14-9D4801EE0342}" dt="2023-12-11T11:20:50.193" v="4507" actId="478"/>
          <ac:picMkLst>
            <pc:docMk/>
            <pc:sldMk cId="145152880" sldId="282"/>
            <ac:picMk id="3" creationId="{8B01658B-CE84-5B30-3EB4-028E9E6C20D9}"/>
          </ac:picMkLst>
        </pc:picChg>
        <pc:picChg chg="add mod">
          <ac:chgData name="Pierre CHAVANNE" userId="2e2e2412-eb49-4787-bd3d-d17adeb25e11" providerId="ADAL" clId="{8E769656-82DF-4740-BA14-9D4801EE0342}" dt="2023-12-11T12:51:19.883" v="7112" actId="1076"/>
          <ac:picMkLst>
            <pc:docMk/>
            <pc:sldMk cId="145152880" sldId="282"/>
            <ac:picMk id="7" creationId="{9DAF32C9-DAB5-B0B9-FAAD-FE0409B10815}"/>
          </ac:picMkLst>
        </pc:picChg>
        <pc:cxnChg chg="add del mod">
          <ac:chgData name="Pierre CHAVANNE" userId="2e2e2412-eb49-4787-bd3d-d17adeb25e11" providerId="ADAL" clId="{8E769656-82DF-4740-BA14-9D4801EE0342}" dt="2023-12-11T10:55:25.614" v="3104"/>
          <ac:cxnSpMkLst>
            <pc:docMk/>
            <pc:sldMk cId="145152880" sldId="282"/>
            <ac:cxnSpMk id="4" creationId="{573B22BA-363F-D771-43E6-8A1144F3DD4F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4:05:23.489" v="9457" actId="20577"/>
        <pc:sldMkLst>
          <pc:docMk/>
          <pc:sldMk cId="2422762125" sldId="283"/>
        </pc:sldMkLst>
        <pc:spChg chg="mod">
          <ac:chgData name="Pierre CHAVANNE" userId="2e2e2412-eb49-4787-bd3d-d17adeb25e11" providerId="ADAL" clId="{8E769656-82DF-4740-BA14-9D4801EE0342}" dt="2023-12-11T10:55:30.758" v="3117" actId="1037"/>
          <ac:spMkLst>
            <pc:docMk/>
            <pc:sldMk cId="2422762125" sldId="283"/>
            <ac:spMk id="2" creationId="{E52B8373-62D1-544B-7A5C-41B622D6A38F}"/>
          </ac:spMkLst>
        </pc:spChg>
        <pc:spChg chg="del">
          <ac:chgData name="Pierre CHAVANNE" userId="2e2e2412-eb49-4787-bd3d-d17adeb25e11" providerId="ADAL" clId="{8E769656-82DF-4740-BA14-9D4801EE0342}" dt="2023-12-11T09:53:43.638" v="1267" actId="478"/>
          <ac:spMkLst>
            <pc:docMk/>
            <pc:sldMk cId="2422762125" sldId="283"/>
            <ac:spMk id="4" creationId="{430F12B2-8A30-D6A2-6AC7-ABAE7B02E283}"/>
          </ac:spMkLst>
        </pc:spChg>
        <pc:spChg chg="mod">
          <ac:chgData name="Pierre CHAVANNE" userId="2e2e2412-eb49-4787-bd3d-d17adeb25e11" providerId="ADAL" clId="{8E769656-82DF-4740-BA14-9D4801EE0342}" dt="2023-12-11T14:05:23.489" v="9457" actId="20577"/>
          <ac:spMkLst>
            <pc:docMk/>
            <pc:sldMk cId="2422762125" sldId="283"/>
            <ac:spMk id="7" creationId="{6AD4CBD7-D9A7-169D-4153-387F366F0D29}"/>
          </ac:spMkLst>
        </pc:spChg>
        <pc:spChg chg="add del mod">
          <ac:chgData name="Pierre CHAVANNE" userId="2e2e2412-eb49-4787-bd3d-d17adeb25e11" providerId="ADAL" clId="{8E769656-82DF-4740-BA14-9D4801EE0342}" dt="2023-12-11T09:53:44.840" v="1268" actId="478"/>
          <ac:spMkLst>
            <pc:docMk/>
            <pc:sldMk cId="2422762125" sldId="283"/>
            <ac:spMk id="8" creationId="{C13D94F7-1AA0-548C-1093-DE41E5D69690}"/>
          </ac:spMkLst>
        </pc:spChg>
        <pc:spChg chg="mod">
          <ac:chgData name="Pierre CHAVANNE" userId="2e2e2412-eb49-4787-bd3d-d17adeb25e11" providerId="ADAL" clId="{8E769656-82DF-4740-BA14-9D4801EE0342}" dt="2023-12-11T13:53:19.813" v="9339" actId="313"/>
          <ac:spMkLst>
            <pc:docMk/>
            <pc:sldMk cId="2422762125" sldId="283"/>
            <ac:spMk id="10" creationId="{18B9EFBA-7F92-0321-957B-DC732358BF5F}"/>
          </ac:spMkLst>
        </pc:spChg>
        <pc:picChg chg="del">
          <ac:chgData name="Pierre CHAVANNE" userId="2e2e2412-eb49-4787-bd3d-d17adeb25e11" providerId="ADAL" clId="{8E769656-82DF-4740-BA14-9D4801EE0342}" dt="2023-12-11T09:53:33.048" v="1263" actId="478"/>
          <ac:picMkLst>
            <pc:docMk/>
            <pc:sldMk cId="2422762125" sldId="283"/>
            <ac:picMk id="5" creationId="{F0B203F3-EB6A-970F-D45F-F66C94F3090B}"/>
          </ac:picMkLst>
        </pc:picChg>
        <pc:picChg chg="add del mod">
          <ac:chgData name="Pierre CHAVANNE" userId="2e2e2412-eb49-4787-bd3d-d17adeb25e11" providerId="ADAL" clId="{8E769656-82DF-4740-BA14-9D4801EE0342}" dt="2023-12-11T11:20:57.106" v="4510" actId="478"/>
          <ac:picMkLst>
            <pc:docMk/>
            <pc:sldMk cId="2422762125" sldId="283"/>
            <ac:picMk id="9" creationId="{74138B21-8BED-2EEA-0121-834C63B4CA6F}"/>
          </ac:picMkLst>
        </pc:picChg>
        <pc:picChg chg="add del mod">
          <ac:chgData name="Pierre CHAVANNE" userId="2e2e2412-eb49-4787-bd3d-d17adeb25e11" providerId="ADAL" clId="{8E769656-82DF-4740-BA14-9D4801EE0342}" dt="2023-12-11T12:53:29.412" v="7131" actId="478"/>
          <ac:picMkLst>
            <pc:docMk/>
            <pc:sldMk cId="2422762125" sldId="283"/>
            <ac:picMk id="11" creationId="{A59A8CA7-335D-148D-139F-61BD26B83F34}"/>
          </ac:picMkLst>
        </pc:picChg>
        <pc:picChg chg="add del mod">
          <ac:chgData name="Pierre CHAVANNE" userId="2e2e2412-eb49-4787-bd3d-d17adeb25e11" providerId="ADAL" clId="{8E769656-82DF-4740-BA14-9D4801EE0342}" dt="2023-12-11T13:50:33.711" v="9052" actId="478"/>
          <ac:picMkLst>
            <pc:docMk/>
            <pc:sldMk cId="2422762125" sldId="283"/>
            <ac:picMk id="12" creationId="{7F166E49-5E44-F0C3-B77D-C8572D9F996B}"/>
          </ac:picMkLst>
        </pc:picChg>
        <pc:picChg chg="add del mod">
          <ac:chgData name="Pierre CHAVANNE" userId="2e2e2412-eb49-4787-bd3d-d17adeb25e11" providerId="ADAL" clId="{8E769656-82DF-4740-BA14-9D4801EE0342}" dt="2023-12-11T12:52:10.541" v="7124" actId="478"/>
          <ac:picMkLst>
            <pc:docMk/>
            <pc:sldMk cId="2422762125" sldId="283"/>
            <ac:picMk id="18" creationId="{6FF4A4E8-F543-3FFC-4012-78A6BE00123C}"/>
          </ac:picMkLst>
        </pc:picChg>
        <pc:picChg chg="add del mod">
          <ac:chgData name="Pierre CHAVANNE" userId="2e2e2412-eb49-4787-bd3d-d17adeb25e11" providerId="ADAL" clId="{8E769656-82DF-4740-BA14-9D4801EE0342}" dt="2023-12-11T13:50:27.258" v="9047" actId="478"/>
          <ac:picMkLst>
            <pc:docMk/>
            <pc:sldMk cId="2422762125" sldId="283"/>
            <ac:picMk id="20" creationId="{17F72769-34E8-32BA-AADE-A7AE015C71F6}"/>
          </ac:picMkLst>
        </pc:picChg>
        <pc:picChg chg="add del mod">
          <ac:chgData name="Pierre CHAVANNE" userId="2e2e2412-eb49-4787-bd3d-d17adeb25e11" providerId="ADAL" clId="{8E769656-82DF-4740-BA14-9D4801EE0342}" dt="2023-12-11T13:49:12.565" v="9038" actId="478"/>
          <ac:picMkLst>
            <pc:docMk/>
            <pc:sldMk cId="2422762125" sldId="283"/>
            <ac:picMk id="22" creationId="{2B87D39B-46AC-8967-91AE-1DCB711607D8}"/>
          </ac:picMkLst>
        </pc:picChg>
        <pc:picChg chg="add del mod">
          <ac:chgData name="Pierre CHAVANNE" userId="2e2e2412-eb49-4787-bd3d-d17adeb25e11" providerId="ADAL" clId="{8E769656-82DF-4740-BA14-9D4801EE0342}" dt="2023-12-11T13:50:27.691" v="9048" actId="478"/>
          <ac:picMkLst>
            <pc:docMk/>
            <pc:sldMk cId="2422762125" sldId="283"/>
            <ac:picMk id="32" creationId="{5703B5C9-90D3-7DF5-05A6-3997ED5F26FE}"/>
          </ac:picMkLst>
        </pc:picChg>
        <pc:picChg chg="add mod">
          <ac:chgData name="Pierre CHAVANNE" userId="2e2e2412-eb49-4787-bd3d-d17adeb25e11" providerId="ADAL" clId="{8E769656-82DF-4740-BA14-9D4801EE0342}" dt="2023-12-11T13:51:27.112" v="9080" actId="1076"/>
          <ac:picMkLst>
            <pc:docMk/>
            <pc:sldMk cId="2422762125" sldId="283"/>
            <ac:picMk id="34" creationId="{ED999AE7-E13F-C983-CEDF-477B32721CDF}"/>
          </ac:picMkLst>
        </pc:picChg>
        <pc:cxnChg chg="add del mod">
          <ac:chgData name="Pierre CHAVANNE" userId="2e2e2412-eb49-4787-bd3d-d17adeb25e11" providerId="ADAL" clId="{8E769656-82DF-4740-BA14-9D4801EE0342}" dt="2023-12-11T10:44:40.575" v="2580" actId="478"/>
          <ac:cxnSpMkLst>
            <pc:docMk/>
            <pc:sldMk cId="2422762125" sldId="283"/>
            <ac:cxnSpMk id="13" creationId="{CE5660E7-7A45-4749-E6AE-D8ECD3EB00B2}"/>
          </ac:cxnSpMkLst>
        </pc:cxnChg>
        <pc:cxnChg chg="add del mod">
          <ac:chgData name="Pierre CHAVANNE" userId="2e2e2412-eb49-4787-bd3d-d17adeb25e11" providerId="ADAL" clId="{8E769656-82DF-4740-BA14-9D4801EE0342}" dt="2023-12-11T10:45:24.054" v="2591" actId="478"/>
          <ac:cxnSpMkLst>
            <pc:docMk/>
            <pc:sldMk cId="2422762125" sldId="283"/>
            <ac:cxnSpMk id="15" creationId="{F5776FC6-AF69-B948-0005-B6FBEFB7453F}"/>
          </ac:cxnSpMkLst>
        </pc:cxnChg>
        <pc:cxnChg chg="add del mod">
          <ac:chgData name="Pierre CHAVANNE" userId="2e2e2412-eb49-4787-bd3d-d17adeb25e11" providerId="ADAL" clId="{8E769656-82DF-4740-BA14-9D4801EE0342}" dt="2023-12-11T10:55:33.224" v="3118" actId="478"/>
          <ac:cxnSpMkLst>
            <pc:docMk/>
            <pc:sldMk cId="2422762125" sldId="283"/>
            <ac:cxnSpMk id="16" creationId="{D664964D-FFE1-E95A-A596-CE6D2B93D1EC}"/>
          </ac:cxnSpMkLst>
        </pc:cxnChg>
        <pc:cxnChg chg="add del mod">
          <ac:chgData name="Pierre CHAVANNE" userId="2e2e2412-eb49-4787-bd3d-d17adeb25e11" providerId="ADAL" clId="{8E769656-82DF-4740-BA14-9D4801EE0342}" dt="2023-12-11T13:42:38.906" v="9002" actId="478"/>
          <ac:cxnSpMkLst>
            <pc:docMk/>
            <pc:sldMk cId="2422762125" sldId="283"/>
            <ac:cxnSpMk id="24" creationId="{5A4FE4E1-B29A-D3ED-F964-CE484AD8014D}"/>
          </ac:cxnSpMkLst>
        </pc:cxnChg>
        <pc:cxnChg chg="add del mod">
          <ac:chgData name="Pierre CHAVANNE" userId="2e2e2412-eb49-4787-bd3d-d17adeb25e11" providerId="ADAL" clId="{8E769656-82DF-4740-BA14-9D4801EE0342}" dt="2023-12-11T13:42:38.135" v="9001" actId="478"/>
          <ac:cxnSpMkLst>
            <pc:docMk/>
            <pc:sldMk cId="2422762125" sldId="283"/>
            <ac:cxnSpMk id="26" creationId="{F5664C0D-86AD-BD9E-9B56-852FE094F60D}"/>
          </ac:cxnSpMkLst>
        </pc:cxnChg>
      </pc:sldChg>
      <pc:sldChg chg="addSp delSp modSp add del mod">
        <pc:chgData name="Pierre CHAVANNE" userId="2e2e2412-eb49-4787-bd3d-d17adeb25e11" providerId="ADAL" clId="{8E769656-82DF-4740-BA14-9D4801EE0342}" dt="2023-12-11T10:44:50.558" v="2583" actId="47"/>
        <pc:sldMkLst>
          <pc:docMk/>
          <pc:sldMk cId="2221103149" sldId="284"/>
        </pc:sldMkLst>
        <pc:picChg chg="add mod">
          <ac:chgData name="Pierre CHAVANNE" userId="2e2e2412-eb49-4787-bd3d-d17adeb25e11" providerId="ADAL" clId="{8E769656-82DF-4740-BA14-9D4801EE0342}" dt="2023-12-11T09:54:49.062" v="1301"/>
          <ac:picMkLst>
            <pc:docMk/>
            <pc:sldMk cId="2221103149" sldId="284"/>
            <ac:picMk id="3" creationId="{DD8FF3AB-6E2E-CE90-A8DC-C86708800251}"/>
          </ac:picMkLst>
        </pc:picChg>
        <pc:picChg chg="del">
          <ac:chgData name="Pierre CHAVANNE" userId="2e2e2412-eb49-4787-bd3d-d17adeb25e11" providerId="ADAL" clId="{8E769656-82DF-4740-BA14-9D4801EE0342}" dt="2023-12-11T09:54:48.847" v="1300" actId="478"/>
          <ac:picMkLst>
            <pc:docMk/>
            <pc:sldMk cId="2221103149" sldId="284"/>
            <ac:picMk id="12" creationId="{7F166E49-5E44-F0C3-B77D-C8572D9F996B}"/>
          </ac:picMkLst>
        </pc:picChg>
      </pc:sldChg>
      <pc:sldChg chg="addSp delSp modSp add del mod">
        <pc:chgData name="Pierre CHAVANNE" userId="2e2e2412-eb49-4787-bd3d-d17adeb25e11" providerId="ADAL" clId="{8E769656-82DF-4740-BA14-9D4801EE0342}" dt="2023-12-11T10:44:50.920" v="2584" actId="47"/>
        <pc:sldMkLst>
          <pc:docMk/>
          <pc:sldMk cId="477509053" sldId="285"/>
        </pc:sldMkLst>
        <pc:picChg chg="add mod">
          <ac:chgData name="Pierre CHAVANNE" userId="2e2e2412-eb49-4787-bd3d-d17adeb25e11" providerId="ADAL" clId="{8E769656-82DF-4740-BA14-9D4801EE0342}" dt="2023-12-11T09:54:57.579" v="1303"/>
          <ac:picMkLst>
            <pc:docMk/>
            <pc:sldMk cId="477509053" sldId="285"/>
            <ac:picMk id="3" creationId="{679211F3-7A8A-CE6E-83F2-0203960C9CC3}"/>
          </ac:picMkLst>
        </pc:picChg>
        <pc:picChg chg="del">
          <ac:chgData name="Pierre CHAVANNE" userId="2e2e2412-eb49-4787-bd3d-d17adeb25e11" providerId="ADAL" clId="{8E769656-82DF-4740-BA14-9D4801EE0342}" dt="2023-12-11T09:54:52.152" v="1302" actId="478"/>
          <ac:picMkLst>
            <pc:docMk/>
            <pc:sldMk cId="477509053" sldId="285"/>
            <ac:picMk id="12" creationId="{7F166E49-5E44-F0C3-B77D-C8572D9F996B}"/>
          </ac:picMkLst>
        </pc:picChg>
      </pc:sldChg>
      <pc:sldChg chg="addSp delSp modSp add del mod ord">
        <pc:chgData name="Pierre CHAVANNE" userId="2e2e2412-eb49-4787-bd3d-d17adeb25e11" providerId="ADAL" clId="{8E769656-82DF-4740-BA14-9D4801EE0342}" dt="2023-12-11T10:44:49.981" v="2582" actId="47"/>
        <pc:sldMkLst>
          <pc:docMk/>
          <pc:sldMk cId="2786043269" sldId="286"/>
        </pc:sldMkLst>
        <pc:picChg chg="add mod">
          <ac:chgData name="Pierre CHAVANNE" userId="2e2e2412-eb49-4787-bd3d-d17adeb25e11" providerId="ADAL" clId="{8E769656-82DF-4740-BA14-9D4801EE0342}" dt="2023-12-11T09:54:39.211" v="1297"/>
          <ac:picMkLst>
            <pc:docMk/>
            <pc:sldMk cId="2786043269" sldId="286"/>
            <ac:picMk id="3" creationId="{AA1F94D7-D6D6-F4AE-5A1E-0D3F79824924}"/>
          </ac:picMkLst>
        </pc:picChg>
        <pc:picChg chg="del">
          <ac:chgData name="Pierre CHAVANNE" userId="2e2e2412-eb49-4787-bd3d-d17adeb25e11" providerId="ADAL" clId="{8E769656-82DF-4740-BA14-9D4801EE0342}" dt="2023-12-11T09:54:39.068" v="1296" actId="478"/>
          <ac:picMkLst>
            <pc:docMk/>
            <pc:sldMk cId="2786043269" sldId="286"/>
            <ac:picMk id="12" creationId="{7F166E49-5E44-F0C3-B77D-C8572D9F996B}"/>
          </ac:picMkLst>
        </pc:picChg>
        <pc:cxnChg chg="add mod">
          <ac:chgData name="Pierre CHAVANNE" userId="2e2e2412-eb49-4787-bd3d-d17adeb25e11" providerId="ADAL" clId="{8E769656-82DF-4740-BA14-9D4801EE0342}" dt="2023-12-11T10:44:42.460" v="2581"/>
          <ac:cxnSpMkLst>
            <pc:docMk/>
            <pc:sldMk cId="2786043269" sldId="286"/>
            <ac:cxnSpMk id="4" creationId="{9F3031E6-F238-11BA-ADD6-C8D45E28C20E}"/>
          </ac:cxnSpMkLst>
        </pc:cxnChg>
      </pc:sldChg>
      <pc:sldChg chg="addSp delSp modSp add del mod">
        <pc:chgData name="Pierre CHAVANNE" userId="2e2e2412-eb49-4787-bd3d-d17adeb25e11" providerId="ADAL" clId="{8E769656-82DF-4740-BA14-9D4801EE0342}" dt="2023-12-11T10:44:51.507" v="2585" actId="47"/>
        <pc:sldMkLst>
          <pc:docMk/>
          <pc:sldMk cId="3392872092" sldId="287"/>
        </pc:sldMkLst>
        <pc:picChg chg="del">
          <ac:chgData name="Pierre CHAVANNE" userId="2e2e2412-eb49-4787-bd3d-d17adeb25e11" providerId="ADAL" clId="{8E769656-82DF-4740-BA14-9D4801EE0342}" dt="2023-12-11T09:55:00.880" v="1305" actId="478"/>
          <ac:picMkLst>
            <pc:docMk/>
            <pc:sldMk cId="3392872092" sldId="287"/>
            <ac:picMk id="3" creationId="{679211F3-7A8A-CE6E-83F2-0203960C9CC3}"/>
          </ac:picMkLst>
        </pc:picChg>
        <pc:picChg chg="add mod">
          <ac:chgData name="Pierre CHAVANNE" userId="2e2e2412-eb49-4787-bd3d-d17adeb25e11" providerId="ADAL" clId="{8E769656-82DF-4740-BA14-9D4801EE0342}" dt="2023-12-11T09:55:05.978" v="1306"/>
          <ac:picMkLst>
            <pc:docMk/>
            <pc:sldMk cId="3392872092" sldId="287"/>
            <ac:picMk id="4" creationId="{5BDCAE65-24C6-299E-B5BA-46EFE4027871}"/>
          </ac:picMkLst>
        </pc:picChg>
      </pc:sldChg>
      <pc:sldChg chg="addSp delSp modSp add mod">
        <pc:chgData name="Pierre CHAVANNE" userId="2e2e2412-eb49-4787-bd3d-d17adeb25e11" providerId="ADAL" clId="{8E769656-82DF-4740-BA14-9D4801EE0342}" dt="2023-12-11T14:49:56.422" v="10542" actId="478"/>
        <pc:sldMkLst>
          <pc:docMk/>
          <pc:sldMk cId="2982571789" sldId="288"/>
        </pc:sldMkLst>
        <pc:spChg chg="mod">
          <ac:chgData name="Pierre CHAVANNE" userId="2e2e2412-eb49-4787-bd3d-d17adeb25e11" providerId="ADAL" clId="{8E769656-82DF-4740-BA14-9D4801EE0342}" dt="2023-12-11T10:55:40.041" v="3133" actId="1037"/>
          <ac:spMkLst>
            <pc:docMk/>
            <pc:sldMk cId="2982571789" sldId="288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0:55:40.041" v="3133" actId="1037"/>
          <ac:spMkLst>
            <pc:docMk/>
            <pc:sldMk cId="2982571789" sldId="288"/>
            <ac:spMk id="7" creationId="{6AD4CBD7-D9A7-169D-4153-387F366F0D29}"/>
          </ac:spMkLst>
        </pc:spChg>
        <pc:spChg chg="del">
          <ac:chgData name="Pierre CHAVANNE" userId="2e2e2412-eb49-4787-bd3d-d17adeb25e11" providerId="ADAL" clId="{8E769656-82DF-4740-BA14-9D4801EE0342}" dt="2023-12-11T13:21:30.073" v="8435" actId="478"/>
          <ac:spMkLst>
            <pc:docMk/>
            <pc:sldMk cId="2982571789" sldId="288"/>
            <ac:spMk id="10" creationId="{18B9EFBA-7F92-0321-957B-DC732358BF5F}"/>
          </ac:spMkLst>
        </pc:spChg>
        <pc:spChg chg="add mod">
          <ac:chgData name="Pierre CHAVANNE" userId="2e2e2412-eb49-4787-bd3d-d17adeb25e11" providerId="ADAL" clId="{8E769656-82DF-4740-BA14-9D4801EE0342}" dt="2023-12-11T13:26:43.011" v="8704" actId="14100"/>
          <ac:spMkLst>
            <pc:docMk/>
            <pc:sldMk cId="2982571789" sldId="288"/>
            <ac:spMk id="14" creationId="{244A11D9-903C-063B-57C5-F8DBD33A487B}"/>
          </ac:spMkLst>
        </pc:spChg>
        <pc:picChg chg="add mod">
          <ac:chgData name="Pierre CHAVANNE" userId="2e2e2412-eb49-4787-bd3d-d17adeb25e11" providerId="ADAL" clId="{8E769656-82DF-4740-BA14-9D4801EE0342}" dt="2023-12-11T14:11:38.856" v="9478" actId="1076"/>
          <ac:picMkLst>
            <pc:docMk/>
            <pc:sldMk cId="2982571789" sldId="288"/>
            <ac:picMk id="3" creationId="{115FE826-D431-B526-7FB9-25C8F9B80A93}"/>
          </ac:picMkLst>
        </pc:picChg>
        <pc:picChg chg="add del mod">
          <ac:chgData name="Pierre CHAVANNE" userId="2e2e2412-eb49-4787-bd3d-d17adeb25e11" providerId="ADAL" clId="{8E769656-82DF-4740-BA14-9D4801EE0342}" dt="2023-12-11T13:23:13.396" v="8507" actId="478"/>
          <ac:picMkLst>
            <pc:docMk/>
            <pc:sldMk cId="2982571789" sldId="288"/>
            <ac:picMk id="4" creationId="{C669777C-3A10-5B83-899D-407CAC31C4D6}"/>
          </ac:picMkLst>
        </pc:picChg>
        <pc:picChg chg="add del mod">
          <ac:chgData name="Pierre CHAVANNE" userId="2e2e2412-eb49-4787-bd3d-d17adeb25e11" providerId="ADAL" clId="{8E769656-82DF-4740-BA14-9D4801EE0342}" dt="2023-12-11T13:23:14.391" v="8508" actId="478"/>
          <ac:picMkLst>
            <pc:docMk/>
            <pc:sldMk cId="2982571789" sldId="288"/>
            <ac:picMk id="5" creationId="{B79F9F34-E5AE-6C3A-42B6-DEB59C278BEC}"/>
          </ac:picMkLst>
        </pc:picChg>
        <pc:picChg chg="del">
          <ac:chgData name="Pierre CHAVANNE" userId="2e2e2412-eb49-4787-bd3d-d17adeb25e11" providerId="ADAL" clId="{8E769656-82DF-4740-BA14-9D4801EE0342}" dt="2023-12-11T09:55:56.103" v="1337" actId="478"/>
          <ac:picMkLst>
            <pc:docMk/>
            <pc:sldMk cId="2982571789" sldId="288"/>
            <ac:picMk id="9" creationId="{74138B21-8BED-2EEA-0121-834C63B4CA6F}"/>
          </ac:picMkLst>
        </pc:picChg>
        <pc:picChg chg="del">
          <ac:chgData name="Pierre CHAVANNE" userId="2e2e2412-eb49-4787-bd3d-d17adeb25e11" providerId="ADAL" clId="{8E769656-82DF-4740-BA14-9D4801EE0342}" dt="2023-12-11T09:55:59.500" v="1339" actId="478"/>
          <ac:picMkLst>
            <pc:docMk/>
            <pc:sldMk cId="2982571789" sldId="288"/>
            <ac:picMk id="11" creationId="{A59A8CA7-335D-148D-139F-61BD26B83F34}"/>
          </ac:picMkLst>
        </pc:picChg>
        <pc:picChg chg="del">
          <ac:chgData name="Pierre CHAVANNE" userId="2e2e2412-eb49-4787-bd3d-d17adeb25e11" providerId="ADAL" clId="{8E769656-82DF-4740-BA14-9D4801EE0342}" dt="2023-12-11T09:55:43.336" v="1323" actId="478"/>
          <ac:picMkLst>
            <pc:docMk/>
            <pc:sldMk cId="2982571789" sldId="288"/>
            <ac:picMk id="12" creationId="{7F166E49-5E44-F0C3-B77D-C8572D9F996B}"/>
          </ac:picMkLst>
        </pc:picChg>
        <pc:picChg chg="add del mod">
          <ac:chgData name="Pierre CHAVANNE" userId="2e2e2412-eb49-4787-bd3d-d17adeb25e11" providerId="ADAL" clId="{8E769656-82DF-4740-BA14-9D4801EE0342}" dt="2023-12-11T14:08:02.319" v="9458" actId="478"/>
          <ac:picMkLst>
            <pc:docMk/>
            <pc:sldMk cId="2982571789" sldId="288"/>
            <ac:picMk id="16" creationId="{40BFAEAC-0EE2-B8FF-03E4-F99F7E2FCF67}"/>
          </ac:picMkLst>
        </pc:picChg>
        <pc:picChg chg="add mod">
          <ac:chgData name="Pierre CHAVANNE" userId="2e2e2412-eb49-4787-bd3d-d17adeb25e11" providerId="ADAL" clId="{8E769656-82DF-4740-BA14-9D4801EE0342}" dt="2023-12-11T14:49:54.366" v="10541" actId="1036"/>
          <ac:picMkLst>
            <pc:docMk/>
            <pc:sldMk cId="2982571789" sldId="288"/>
            <ac:picMk id="20" creationId="{9DA74D9A-992B-8F96-2317-AC22A113A389}"/>
          </ac:picMkLst>
        </pc:picChg>
        <pc:picChg chg="add mod">
          <ac:chgData name="Pierre CHAVANNE" userId="2e2e2412-eb49-4787-bd3d-d17adeb25e11" providerId="ADAL" clId="{8E769656-82DF-4740-BA14-9D4801EE0342}" dt="2023-12-11T14:49:52.712" v="10537" actId="1035"/>
          <ac:picMkLst>
            <pc:docMk/>
            <pc:sldMk cId="2982571789" sldId="288"/>
            <ac:picMk id="3074" creationId="{0E49D444-10C0-572B-FCCA-2680B1B8C583}"/>
          </ac:picMkLst>
        </pc:picChg>
        <pc:cxnChg chg="add del mod">
          <ac:chgData name="Pierre CHAVANNE" userId="2e2e2412-eb49-4787-bd3d-d17adeb25e11" providerId="ADAL" clId="{8E769656-82DF-4740-BA14-9D4801EE0342}" dt="2023-12-11T10:45:37.458" v="2618" actId="478"/>
          <ac:cxnSpMkLst>
            <pc:docMk/>
            <pc:sldMk cId="2982571789" sldId="288"/>
            <ac:cxnSpMk id="8" creationId="{CB5B9C59-3150-C1C4-9F77-4BF6C99A2D04}"/>
          </ac:cxnSpMkLst>
        </pc:cxnChg>
        <pc:cxnChg chg="add del mod">
          <ac:chgData name="Pierre CHAVANNE" userId="2e2e2412-eb49-4787-bd3d-d17adeb25e11" providerId="ADAL" clId="{8E769656-82DF-4740-BA14-9D4801EE0342}" dt="2023-12-11T10:55:42.585" v="3134" actId="478"/>
          <ac:cxnSpMkLst>
            <pc:docMk/>
            <pc:sldMk cId="2982571789" sldId="288"/>
            <ac:cxnSpMk id="13" creationId="{F76BD4C9-A4FD-F938-F79E-ADE10C90BDC2}"/>
          </ac:cxnSpMkLst>
        </pc:cxnChg>
        <pc:cxnChg chg="add del mod">
          <ac:chgData name="Pierre CHAVANNE" userId="2e2e2412-eb49-4787-bd3d-d17adeb25e11" providerId="ADAL" clId="{8E769656-82DF-4740-BA14-9D4801EE0342}" dt="2023-12-11T13:43:47.296" v="9027" actId="478"/>
          <ac:cxnSpMkLst>
            <pc:docMk/>
            <pc:sldMk cId="2982571789" sldId="288"/>
            <ac:cxnSpMk id="17" creationId="{905AB92A-DCC4-8A49-CD73-DEBC444678FE}"/>
          </ac:cxnSpMkLst>
        </pc:cxnChg>
        <pc:cxnChg chg="add del mod">
          <ac:chgData name="Pierre CHAVANNE" userId="2e2e2412-eb49-4787-bd3d-d17adeb25e11" providerId="ADAL" clId="{8E769656-82DF-4740-BA14-9D4801EE0342}" dt="2023-12-11T13:43:47.296" v="9027" actId="478"/>
          <ac:cxnSpMkLst>
            <pc:docMk/>
            <pc:sldMk cId="2982571789" sldId="288"/>
            <ac:cxnSpMk id="18" creationId="{7667886E-B7F7-3417-2898-B7459A8FF4FC}"/>
          </ac:cxnSpMkLst>
        </pc:cxnChg>
        <pc:cxnChg chg="add del mod">
          <ac:chgData name="Pierre CHAVANNE" userId="2e2e2412-eb49-4787-bd3d-d17adeb25e11" providerId="ADAL" clId="{8E769656-82DF-4740-BA14-9D4801EE0342}" dt="2023-12-11T14:49:56.422" v="10542" actId="478"/>
          <ac:cxnSpMkLst>
            <pc:docMk/>
            <pc:sldMk cId="2982571789" sldId="288"/>
            <ac:cxnSpMk id="21" creationId="{BB22FE70-6E36-591E-1664-F01EE153E27A}"/>
          </ac:cxnSpMkLst>
        </pc:cxnChg>
      </pc:sldChg>
      <pc:sldChg chg="add del">
        <pc:chgData name="Pierre CHAVANNE" userId="2e2e2412-eb49-4787-bd3d-d17adeb25e11" providerId="ADAL" clId="{8E769656-82DF-4740-BA14-9D4801EE0342}" dt="2023-12-11T10:44:59.110" v="2586" actId="47"/>
        <pc:sldMkLst>
          <pc:docMk/>
          <pc:sldMk cId="1787220315" sldId="289"/>
        </pc:sldMkLst>
      </pc:sldChg>
      <pc:sldChg chg="addSp delSp modSp add del mod">
        <pc:chgData name="Pierre CHAVANNE" userId="2e2e2412-eb49-4787-bd3d-d17adeb25e11" providerId="ADAL" clId="{8E769656-82DF-4740-BA14-9D4801EE0342}" dt="2023-12-11T10:45:02.766" v="2587" actId="47"/>
        <pc:sldMkLst>
          <pc:docMk/>
          <pc:sldMk cId="1400871981" sldId="290"/>
        </pc:sldMkLst>
        <pc:spChg chg="mod">
          <ac:chgData name="Pierre CHAVANNE" userId="2e2e2412-eb49-4787-bd3d-d17adeb25e11" providerId="ADAL" clId="{8E769656-82DF-4740-BA14-9D4801EE0342}" dt="2023-12-11T09:56:27.053" v="1365" actId="20577"/>
          <ac:spMkLst>
            <pc:docMk/>
            <pc:sldMk cId="1400871981" sldId="290"/>
            <ac:spMk id="7" creationId="{6AD4CBD7-D9A7-169D-4153-387F366F0D29}"/>
          </ac:spMkLst>
        </pc:spChg>
        <pc:picChg chg="del">
          <ac:chgData name="Pierre CHAVANNE" userId="2e2e2412-eb49-4787-bd3d-d17adeb25e11" providerId="ADAL" clId="{8E769656-82DF-4740-BA14-9D4801EE0342}" dt="2023-12-11T09:56:10.104" v="1344" actId="478"/>
          <ac:picMkLst>
            <pc:docMk/>
            <pc:sldMk cId="1400871981" sldId="290"/>
            <ac:picMk id="3" creationId="{115FE826-D431-B526-7FB9-25C8F9B80A93}"/>
          </ac:picMkLst>
        </pc:picChg>
        <pc:picChg chg="del">
          <ac:chgData name="Pierre CHAVANNE" userId="2e2e2412-eb49-4787-bd3d-d17adeb25e11" providerId="ADAL" clId="{8E769656-82DF-4740-BA14-9D4801EE0342}" dt="2023-12-11T09:56:14.507" v="1346" actId="478"/>
          <ac:picMkLst>
            <pc:docMk/>
            <pc:sldMk cId="1400871981" sldId="290"/>
            <ac:picMk id="4" creationId="{C669777C-3A10-5B83-899D-407CAC31C4D6}"/>
          </ac:picMkLst>
        </pc:picChg>
        <pc:picChg chg="del">
          <ac:chgData name="Pierre CHAVANNE" userId="2e2e2412-eb49-4787-bd3d-d17adeb25e11" providerId="ADAL" clId="{8E769656-82DF-4740-BA14-9D4801EE0342}" dt="2023-12-11T09:56:17.909" v="1348" actId="478"/>
          <ac:picMkLst>
            <pc:docMk/>
            <pc:sldMk cId="1400871981" sldId="290"/>
            <ac:picMk id="5" creationId="{B79F9F34-E5AE-6C3A-42B6-DEB59C278BEC}"/>
          </ac:picMkLst>
        </pc:picChg>
        <pc:picChg chg="add mod">
          <ac:chgData name="Pierre CHAVANNE" userId="2e2e2412-eb49-4787-bd3d-d17adeb25e11" providerId="ADAL" clId="{8E769656-82DF-4740-BA14-9D4801EE0342}" dt="2023-12-11T09:56:10.265" v="1345"/>
          <ac:picMkLst>
            <pc:docMk/>
            <pc:sldMk cId="1400871981" sldId="290"/>
            <ac:picMk id="8" creationId="{1C71661C-E97A-8384-1720-6DDE2140BD8B}"/>
          </ac:picMkLst>
        </pc:picChg>
        <pc:picChg chg="add mod">
          <ac:chgData name="Pierre CHAVANNE" userId="2e2e2412-eb49-4787-bd3d-d17adeb25e11" providerId="ADAL" clId="{8E769656-82DF-4740-BA14-9D4801EE0342}" dt="2023-12-11T09:56:14.756" v="1347"/>
          <ac:picMkLst>
            <pc:docMk/>
            <pc:sldMk cId="1400871981" sldId="290"/>
            <ac:picMk id="9" creationId="{75FECEEF-18AA-C05F-19DA-BEE6757161A9}"/>
          </ac:picMkLst>
        </pc:picChg>
        <pc:picChg chg="add mod">
          <ac:chgData name="Pierre CHAVANNE" userId="2e2e2412-eb49-4787-bd3d-d17adeb25e11" providerId="ADAL" clId="{8E769656-82DF-4740-BA14-9D4801EE0342}" dt="2023-12-11T09:56:18.061" v="1349"/>
          <ac:picMkLst>
            <pc:docMk/>
            <pc:sldMk cId="1400871981" sldId="290"/>
            <ac:picMk id="11" creationId="{280E7838-52F4-1E8A-9E99-BE2051C86189}"/>
          </ac:picMkLst>
        </pc:picChg>
      </pc:sldChg>
      <pc:sldChg chg="addSp delSp modSp add del mod">
        <pc:chgData name="Pierre CHAVANNE" userId="2e2e2412-eb49-4787-bd3d-d17adeb25e11" providerId="ADAL" clId="{8E769656-82DF-4740-BA14-9D4801EE0342}" dt="2023-12-11T10:45:04.393" v="2588" actId="47"/>
        <pc:sldMkLst>
          <pc:docMk/>
          <pc:sldMk cId="2558247237" sldId="291"/>
        </pc:sldMkLst>
        <pc:spChg chg="mod">
          <ac:chgData name="Pierre CHAVANNE" userId="2e2e2412-eb49-4787-bd3d-d17adeb25e11" providerId="ADAL" clId="{8E769656-82DF-4740-BA14-9D4801EE0342}" dt="2023-12-11T09:56:39.555" v="1382" actId="20577"/>
          <ac:spMkLst>
            <pc:docMk/>
            <pc:sldMk cId="2558247237" sldId="291"/>
            <ac:spMk id="7" creationId="{6AD4CBD7-D9A7-169D-4153-387F366F0D29}"/>
          </ac:spMkLst>
        </pc:spChg>
        <pc:spChg chg="mod">
          <ac:chgData name="Pierre CHAVANNE" userId="2e2e2412-eb49-4787-bd3d-d17adeb25e11" providerId="ADAL" clId="{8E769656-82DF-4740-BA14-9D4801EE0342}" dt="2023-12-11T09:56:52.317" v="1387" actId="1076"/>
          <ac:spMkLst>
            <pc:docMk/>
            <pc:sldMk cId="2558247237" sldId="291"/>
            <ac:spMk id="10" creationId="{18B9EFBA-7F92-0321-957B-DC732358BF5F}"/>
          </ac:spMkLst>
        </pc:spChg>
        <pc:picChg chg="add mod">
          <ac:chgData name="Pierre CHAVANNE" userId="2e2e2412-eb49-4787-bd3d-d17adeb25e11" providerId="ADAL" clId="{8E769656-82DF-4740-BA14-9D4801EE0342}" dt="2023-12-11T09:56:53.715" v="1388" actId="1076"/>
          <ac:picMkLst>
            <pc:docMk/>
            <pc:sldMk cId="2558247237" sldId="291"/>
            <ac:picMk id="3" creationId="{E50A1780-36EB-04BB-D82B-D6A7B3456677}"/>
          </ac:picMkLst>
        </pc:picChg>
        <pc:picChg chg="del mod">
          <ac:chgData name="Pierre CHAVANNE" userId="2e2e2412-eb49-4787-bd3d-d17adeb25e11" providerId="ADAL" clId="{8E769656-82DF-4740-BA14-9D4801EE0342}" dt="2023-12-11T09:56:48.779" v="1384" actId="478"/>
          <ac:picMkLst>
            <pc:docMk/>
            <pc:sldMk cId="2558247237" sldId="291"/>
            <ac:picMk id="8" creationId="{1C71661C-E97A-8384-1720-6DDE2140BD8B}"/>
          </ac:picMkLst>
        </pc:picChg>
      </pc:sldChg>
      <pc:sldChg chg="modSp add del mod">
        <pc:chgData name="Pierre CHAVANNE" userId="2e2e2412-eb49-4787-bd3d-d17adeb25e11" providerId="ADAL" clId="{8E769656-82DF-4740-BA14-9D4801EE0342}" dt="2023-12-11T10:45:53.297" v="2619" actId="47"/>
        <pc:sldMkLst>
          <pc:docMk/>
          <pc:sldMk cId="4261631526" sldId="292"/>
        </pc:sldMkLst>
        <pc:spChg chg="mod">
          <ac:chgData name="Pierre CHAVANNE" userId="2e2e2412-eb49-4787-bd3d-d17adeb25e11" providerId="ADAL" clId="{8E769656-82DF-4740-BA14-9D4801EE0342}" dt="2023-12-11T09:58:09.860" v="1431" actId="20577"/>
          <ac:spMkLst>
            <pc:docMk/>
            <pc:sldMk cId="4261631526" sldId="292"/>
            <ac:spMk id="2" creationId="{E52B8373-62D1-544B-7A5C-41B622D6A38F}"/>
          </ac:spMkLst>
        </pc:spChg>
      </pc:sldChg>
      <pc:sldChg chg="add del">
        <pc:chgData name="Pierre CHAVANNE" userId="2e2e2412-eb49-4787-bd3d-d17adeb25e11" providerId="ADAL" clId="{8E769656-82DF-4740-BA14-9D4801EE0342}" dt="2023-12-11T10:45:54.091" v="2620" actId="47"/>
        <pc:sldMkLst>
          <pc:docMk/>
          <pc:sldMk cId="368996734" sldId="293"/>
        </pc:sldMkLst>
      </pc:sldChg>
      <pc:sldChg chg="add del">
        <pc:chgData name="Pierre CHAVANNE" userId="2e2e2412-eb49-4787-bd3d-d17adeb25e11" providerId="ADAL" clId="{8E769656-82DF-4740-BA14-9D4801EE0342}" dt="2023-12-11T10:45:54.294" v="2621" actId="47"/>
        <pc:sldMkLst>
          <pc:docMk/>
          <pc:sldMk cId="45434313" sldId="294"/>
        </pc:sldMkLst>
      </pc:sldChg>
      <pc:sldChg chg="add del">
        <pc:chgData name="Pierre CHAVANNE" userId="2e2e2412-eb49-4787-bd3d-d17adeb25e11" providerId="ADAL" clId="{8E769656-82DF-4740-BA14-9D4801EE0342}" dt="2023-12-11T10:45:54.494" v="2622" actId="47"/>
        <pc:sldMkLst>
          <pc:docMk/>
          <pc:sldMk cId="1471408875" sldId="295"/>
        </pc:sldMkLst>
      </pc:sldChg>
      <pc:sldChg chg="add del">
        <pc:chgData name="Pierre CHAVANNE" userId="2e2e2412-eb49-4787-bd3d-d17adeb25e11" providerId="ADAL" clId="{8E769656-82DF-4740-BA14-9D4801EE0342}" dt="2023-12-11T10:45:54.666" v="2623" actId="47"/>
        <pc:sldMkLst>
          <pc:docMk/>
          <pc:sldMk cId="610366147" sldId="296"/>
        </pc:sldMkLst>
      </pc:sldChg>
      <pc:sldChg chg="add del">
        <pc:chgData name="Pierre CHAVANNE" userId="2e2e2412-eb49-4787-bd3d-d17adeb25e11" providerId="ADAL" clId="{8E769656-82DF-4740-BA14-9D4801EE0342}" dt="2023-12-11T10:45:55.094" v="2624" actId="47"/>
        <pc:sldMkLst>
          <pc:docMk/>
          <pc:sldMk cId="4147860598" sldId="297"/>
        </pc:sldMkLst>
      </pc:sldChg>
      <pc:sldChg chg="add del">
        <pc:chgData name="Pierre CHAVANNE" userId="2e2e2412-eb49-4787-bd3d-d17adeb25e11" providerId="ADAL" clId="{8E769656-82DF-4740-BA14-9D4801EE0342}" dt="2023-12-11T10:45:55.470" v="2625" actId="47"/>
        <pc:sldMkLst>
          <pc:docMk/>
          <pc:sldMk cId="180031293" sldId="298"/>
        </pc:sldMkLst>
      </pc:sldChg>
      <pc:sldChg chg="add del">
        <pc:chgData name="Pierre CHAVANNE" userId="2e2e2412-eb49-4787-bd3d-d17adeb25e11" providerId="ADAL" clId="{8E769656-82DF-4740-BA14-9D4801EE0342}" dt="2023-12-11T10:45:55.748" v="2626" actId="47"/>
        <pc:sldMkLst>
          <pc:docMk/>
          <pc:sldMk cId="3001168462" sldId="299"/>
        </pc:sldMkLst>
      </pc:sldChg>
      <pc:sldChg chg="add del">
        <pc:chgData name="Pierre CHAVANNE" userId="2e2e2412-eb49-4787-bd3d-d17adeb25e11" providerId="ADAL" clId="{8E769656-82DF-4740-BA14-9D4801EE0342}" dt="2023-12-11T10:45:56.018" v="2627" actId="47"/>
        <pc:sldMkLst>
          <pc:docMk/>
          <pc:sldMk cId="3137802050" sldId="300"/>
        </pc:sldMkLst>
      </pc:sldChg>
      <pc:sldChg chg="add del">
        <pc:chgData name="Pierre CHAVANNE" userId="2e2e2412-eb49-4787-bd3d-d17adeb25e11" providerId="ADAL" clId="{8E769656-82DF-4740-BA14-9D4801EE0342}" dt="2023-12-11T10:45:56.542" v="2628" actId="47"/>
        <pc:sldMkLst>
          <pc:docMk/>
          <pc:sldMk cId="1178979171" sldId="301"/>
        </pc:sldMkLst>
      </pc:sldChg>
      <pc:sldChg chg="add del">
        <pc:chgData name="Pierre CHAVANNE" userId="2e2e2412-eb49-4787-bd3d-d17adeb25e11" providerId="ADAL" clId="{8E769656-82DF-4740-BA14-9D4801EE0342}" dt="2023-12-11T10:45:56.798" v="2629" actId="47"/>
        <pc:sldMkLst>
          <pc:docMk/>
          <pc:sldMk cId="1596515574" sldId="302"/>
        </pc:sldMkLst>
      </pc:sldChg>
      <pc:sldChg chg="add del">
        <pc:chgData name="Pierre CHAVANNE" userId="2e2e2412-eb49-4787-bd3d-d17adeb25e11" providerId="ADAL" clId="{8E769656-82DF-4740-BA14-9D4801EE0342}" dt="2023-12-11T10:45:57.282" v="2630" actId="47"/>
        <pc:sldMkLst>
          <pc:docMk/>
          <pc:sldMk cId="3621249945" sldId="303"/>
        </pc:sldMkLst>
      </pc:sldChg>
      <pc:sldChg chg="add del">
        <pc:chgData name="Pierre CHAVANNE" userId="2e2e2412-eb49-4787-bd3d-d17adeb25e11" providerId="ADAL" clId="{8E769656-82DF-4740-BA14-9D4801EE0342}" dt="2023-12-11T10:45:57.591" v="2631" actId="47"/>
        <pc:sldMkLst>
          <pc:docMk/>
          <pc:sldMk cId="861598911" sldId="304"/>
        </pc:sldMkLst>
      </pc:sldChg>
      <pc:sldChg chg="add del">
        <pc:chgData name="Pierre CHAVANNE" userId="2e2e2412-eb49-4787-bd3d-d17adeb25e11" providerId="ADAL" clId="{8E769656-82DF-4740-BA14-9D4801EE0342}" dt="2023-12-11T10:45:58" v="2632" actId="47"/>
        <pc:sldMkLst>
          <pc:docMk/>
          <pc:sldMk cId="1588576779" sldId="305"/>
        </pc:sldMkLst>
      </pc:sldChg>
      <pc:sldChg chg="add del">
        <pc:chgData name="Pierre CHAVANNE" userId="2e2e2412-eb49-4787-bd3d-d17adeb25e11" providerId="ADAL" clId="{8E769656-82DF-4740-BA14-9D4801EE0342}" dt="2023-12-11T10:45:58.430" v="2633" actId="47"/>
        <pc:sldMkLst>
          <pc:docMk/>
          <pc:sldMk cId="47991204" sldId="306"/>
        </pc:sldMkLst>
      </pc:sldChg>
      <pc:sldChg chg="add del">
        <pc:chgData name="Pierre CHAVANNE" userId="2e2e2412-eb49-4787-bd3d-d17adeb25e11" providerId="ADAL" clId="{8E769656-82DF-4740-BA14-9D4801EE0342}" dt="2023-12-11T10:45:58.893" v="2634" actId="47"/>
        <pc:sldMkLst>
          <pc:docMk/>
          <pc:sldMk cId="3713550629" sldId="307"/>
        </pc:sldMkLst>
      </pc:sldChg>
      <pc:sldChg chg="add del">
        <pc:chgData name="Pierre CHAVANNE" userId="2e2e2412-eb49-4787-bd3d-d17adeb25e11" providerId="ADAL" clId="{8E769656-82DF-4740-BA14-9D4801EE0342}" dt="2023-12-11T10:45:59.444" v="2635" actId="47"/>
        <pc:sldMkLst>
          <pc:docMk/>
          <pc:sldMk cId="2527639591" sldId="308"/>
        </pc:sldMkLst>
      </pc:sldChg>
      <pc:sldChg chg="addSp delSp modSp add del mod">
        <pc:chgData name="Pierre CHAVANNE" userId="2e2e2412-eb49-4787-bd3d-d17adeb25e11" providerId="ADAL" clId="{8E769656-82DF-4740-BA14-9D4801EE0342}" dt="2023-12-11T15:13:40.080" v="11359" actId="478"/>
        <pc:sldMkLst>
          <pc:docMk/>
          <pc:sldMk cId="1004113706" sldId="309"/>
        </pc:sldMkLst>
        <pc:spChg chg="mod">
          <ac:chgData name="Pierre CHAVANNE" userId="2e2e2412-eb49-4787-bd3d-d17adeb25e11" providerId="ADAL" clId="{8E769656-82DF-4740-BA14-9D4801EE0342}" dt="2023-12-11T09:58:40.226" v="1450" actId="5793"/>
          <ac:spMkLst>
            <pc:docMk/>
            <pc:sldMk cId="1004113706" sldId="309"/>
            <ac:spMk id="2" creationId="{E52B8373-62D1-544B-7A5C-41B622D6A38F}"/>
          </ac:spMkLst>
        </pc:spChg>
        <pc:spChg chg="del mod">
          <ac:chgData name="Pierre CHAVANNE" userId="2e2e2412-eb49-4787-bd3d-d17adeb25e11" providerId="ADAL" clId="{8E769656-82DF-4740-BA14-9D4801EE0342}" dt="2023-12-11T15:13:37.834" v="11358" actId="478"/>
          <ac:spMkLst>
            <pc:docMk/>
            <pc:sldMk cId="1004113706" sldId="309"/>
            <ac:spMk id="3" creationId="{E705A79E-16A3-E045-2AA9-C06990D51039}"/>
          </ac:spMkLst>
        </pc:spChg>
        <pc:spChg chg="add del mod">
          <ac:chgData name="Pierre CHAVANNE" userId="2e2e2412-eb49-4787-bd3d-d17adeb25e11" providerId="ADAL" clId="{8E769656-82DF-4740-BA14-9D4801EE0342}" dt="2023-12-11T15:13:40.080" v="11359" actId="478"/>
          <ac:spMkLst>
            <pc:docMk/>
            <pc:sldMk cId="1004113706" sldId="309"/>
            <ac:spMk id="5" creationId="{D294B8A5-6A8C-8316-5494-162452CCBB08}"/>
          </ac:spMkLst>
        </pc:spChg>
      </pc:sldChg>
      <pc:sldChg chg="delSp modSp new del mod">
        <pc:chgData name="Pierre CHAVANNE" userId="2e2e2412-eb49-4787-bd3d-d17adeb25e11" providerId="ADAL" clId="{8E769656-82DF-4740-BA14-9D4801EE0342}" dt="2023-12-11T10:01:11.004" v="1503" actId="47"/>
        <pc:sldMkLst>
          <pc:docMk/>
          <pc:sldMk cId="1785950837" sldId="310"/>
        </pc:sldMkLst>
        <pc:spChg chg="del">
          <ac:chgData name="Pierre CHAVANNE" userId="2e2e2412-eb49-4787-bd3d-d17adeb25e11" providerId="ADAL" clId="{8E769656-82DF-4740-BA14-9D4801EE0342}" dt="2023-12-11T09:59:00.007" v="1455" actId="478"/>
          <ac:spMkLst>
            <pc:docMk/>
            <pc:sldMk cId="1785950837" sldId="310"/>
            <ac:spMk id="3" creationId="{35771932-71C9-C6E0-52FC-214B6C2B276C}"/>
          </ac:spMkLst>
        </pc:spChg>
        <pc:spChg chg="mod">
          <ac:chgData name="Pierre CHAVANNE" userId="2e2e2412-eb49-4787-bd3d-d17adeb25e11" providerId="ADAL" clId="{8E769656-82DF-4740-BA14-9D4801EE0342}" dt="2023-12-11T10:01:00.155" v="1502" actId="20577"/>
          <ac:spMkLst>
            <pc:docMk/>
            <pc:sldMk cId="1785950837" sldId="310"/>
            <ac:spMk id="4" creationId="{A9C2269D-9A14-A6CD-DF3C-F85E5AA47AAA}"/>
          </ac:spMkLst>
        </pc:spChg>
      </pc:sldChg>
      <pc:sldChg chg="addSp delSp modSp add mod">
        <pc:chgData name="Pierre CHAVANNE" userId="2e2e2412-eb49-4787-bd3d-d17adeb25e11" providerId="ADAL" clId="{8E769656-82DF-4740-BA14-9D4801EE0342}" dt="2023-12-11T10:56:36.236" v="3155" actId="478"/>
        <pc:sldMkLst>
          <pc:docMk/>
          <pc:sldMk cId="2745529957" sldId="311"/>
        </pc:sldMkLst>
        <pc:spChg chg="mod">
          <ac:chgData name="Pierre CHAVANNE" userId="2e2e2412-eb49-4787-bd3d-d17adeb25e11" providerId="ADAL" clId="{8E769656-82DF-4740-BA14-9D4801EE0342}" dt="2023-12-11T10:56:32.397" v="3154" actId="1038"/>
          <ac:spMkLst>
            <pc:docMk/>
            <pc:sldMk cId="2745529957" sldId="311"/>
            <ac:spMk id="2" creationId="{E52B8373-62D1-544B-7A5C-41B622D6A38F}"/>
          </ac:spMkLst>
        </pc:spChg>
        <pc:spChg chg="add del mod">
          <ac:chgData name="Pierre CHAVANNE" userId="2e2e2412-eb49-4787-bd3d-d17adeb25e11" providerId="ADAL" clId="{8E769656-82DF-4740-BA14-9D4801EE0342}" dt="2023-12-11T10:00:01.939" v="1475" actId="478"/>
          <ac:spMkLst>
            <pc:docMk/>
            <pc:sldMk cId="2745529957" sldId="311"/>
            <ac:spMk id="5" creationId="{F642F4E0-B530-A558-DA33-EF3030D3E94D}"/>
          </ac:spMkLst>
        </pc:spChg>
        <pc:spChg chg="del">
          <ac:chgData name="Pierre CHAVANNE" userId="2e2e2412-eb49-4787-bd3d-d17adeb25e11" providerId="ADAL" clId="{8E769656-82DF-4740-BA14-9D4801EE0342}" dt="2023-12-11T09:59:38.522" v="1469" actId="478"/>
          <ac:spMkLst>
            <pc:docMk/>
            <pc:sldMk cId="2745529957" sldId="311"/>
            <ac:spMk id="7" creationId="{6AD4CBD7-D9A7-169D-4153-387F366F0D29}"/>
          </ac:spMkLst>
        </pc:spChg>
        <pc:spChg chg="add mod">
          <ac:chgData name="Pierre CHAVANNE" userId="2e2e2412-eb49-4787-bd3d-d17adeb25e11" providerId="ADAL" clId="{8E769656-82DF-4740-BA14-9D4801EE0342}" dt="2023-12-11T10:00:31.382" v="1493" actId="20577"/>
          <ac:spMkLst>
            <pc:docMk/>
            <pc:sldMk cId="2745529957" sldId="311"/>
            <ac:spMk id="8" creationId="{15A4040C-50A3-5593-AB6E-492E3D6866BA}"/>
          </ac:spMkLst>
        </pc:spChg>
        <pc:spChg chg="del">
          <ac:chgData name="Pierre CHAVANNE" userId="2e2e2412-eb49-4787-bd3d-d17adeb25e11" providerId="ADAL" clId="{8E769656-82DF-4740-BA14-9D4801EE0342}" dt="2023-12-11T09:59:40.625" v="1472" actId="478"/>
          <ac:spMkLst>
            <pc:docMk/>
            <pc:sldMk cId="2745529957" sldId="311"/>
            <ac:spMk id="10" creationId="{18B9EFBA-7F92-0321-957B-DC732358BF5F}"/>
          </ac:spMkLst>
        </pc:spChg>
        <pc:picChg chg="del">
          <ac:chgData name="Pierre CHAVANNE" userId="2e2e2412-eb49-4787-bd3d-d17adeb25e11" providerId="ADAL" clId="{8E769656-82DF-4740-BA14-9D4801EE0342}" dt="2023-12-11T09:59:41.080" v="1473" actId="478"/>
          <ac:picMkLst>
            <pc:docMk/>
            <pc:sldMk cId="2745529957" sldId="311"/>
            <ac:picMk id="3" creationId="{E50A1780-36EB-04BB-D82B-D6A7B3456677}"/>
          </ac:picMkLst>
        </pc:picChg>
        <pc:picChg chg="del">
          <ac:chgData name="Pierre CHAVANNE" userId="2e2e2412-eb49-4787-bd3d-d17adeb25e11" providerId="ADAL" clId="{8E769656-82DF-4740-BA14-9D4801EE0342}" dt="2023-12-11T09:59:38.932" v="1470" actId="478"/>
          <ac:picMkLst>
            <pc:docMk/>
            <pc:sldMk cId="2745529957" sldId="311"/>
            <ac:picMk id="9" creationId="{75FECEEF-18AA-C05F-19DA-BEE6757161A9}"/>
          </ac:picMkLst>
        </pc:picChg>
        <pc:picChg chg="del">
          <ac:chgData name="Pierre CHAVANNE" userId="2e2e2412-eb49-4787-bd3d-d17adeb25e11" providerId="ADAL" clId="{8E769656-82DF-4740-BA14-9D4801EE0342}" dt="2023-12-11T09:59:39.410" v="1471" actId="478"/>
          <ac:picMkLst>
            <pc:docMk/>
            <pc:sldMk cId="2745529957" sldId="311"/>
            <ac:picMk id="11" creationId="{280E7838-52F4-1E8A-9E99-BE2051C86189}"/>
          </ac:picMkLst>
        </pc:picChg>
        <pc:picChg chg="add mod">
          <ac:chgData name="Pierre CHAVANNE" userId="2e2e2412-eb49-4787-bd3d-d17adeb25e11" providerId="ADAL" clId="{8E769656-82DF-4740-BA14-9D4801EE0342}" dt="2023-12-11T10:00:41.239" v="1494"/>
          <ac:picMkLst>
            <pc:docMk/>
            <pc:sldMk cId="2745529957" sldId="311"/>
            <ac:picMk id="12" creationId="{57CB0D8F-857D-FD6C-FC26-0976A3D671B6}"/>
          </ac:picMkLst>
        </pc:picChg>
        <pc:picChg chg="add mod">
          <ac:chgData name="Pierre CHAVANNE" userId="2e2e2412-eb49-4787-bd3d-d17adeb25e11" providerId="ADAL" clId="{8E769656-82DF-4740-BA14-9D4801EE0342}" dt="2023-12-11T10:00:41.239" v="1494"/>
          <ac:picMkLst>
            <pc:docMk/>
            <pc:sldMk cId="2745529957" sldId="311"/>
            <ac:picMk id="13" creationId="{DD2F2E39-B36D-7D3D-A07F-F405396398C0}"/>
          </ac:picMkLst>
        </pc:picChg>
        <pc:picChg chg="add mod">
          <ac:chgData name="Pierre CHAVANNE" userId="2e2e2412-eb49-4787-bd3d-d17adeb25e11" providerId="ADAL" clId="{8E769656-82DF-4740-BA14-9D4801EE0342}" dt="2023-12-11T10:00:44.690" v="1495"/>
          <ac:picMkLst>
            <pc:docMk/>
            <pc:sldMk cId="2745529957" sldId="311"/>
            <ac:picMk id="15" creationId="{46362E79-B6B3-786B-2E38-5B07EC4CC2A6}"/>
          </ac:picMkLst>
        </pc:picChg>
        <pc:cxnChg chg="add mod">
          <ac:chgData name="Pierre CHAVANNE" userId="2e2e2412-eb49-4787-bd3d-d17adeb25e11" providerId="ADAL" clId="{8E769656-82DF-4740-BA14-9D4801EE0342}" dt="2023-12-11T10:00:41.239" v="1494"/>
          <ac:cxnSpMkLst>
            <pc:docMk/>
            <pc:sldMk cId="2745529957" sldId="311"/>
            <ac:cxnSpMk id="14" creationId="{E21AC21D-0F31-05B5-FC15-5F23D2D005C7}"/>
          </ac:cxnSpMkLst>
        </pc:cxnChg>
        <pc:cxnChg chg="add del mod">
          <ac:chgData name="Pierre CHAVANNE" userId="2e2e2412-eb49-4787-bd3d-d17adeb25e11" providerId="ADAL" clId="{8E769656-82DF-4740-BA14-9D4801EE0342}" dt="2023-12-11T10:56:36.236" v="3155" actId="478"/>
          <ac:cxnSpMkLst>
            <pc:docMk/>
            <pc:sldMk cId="2745529957" sldId="311"/>
            <ac:cxnSpMk id="16" creationId="{E59962E0-5FF9-26BA-EBAC-93DC52DDAEB0}"/>
          </ac:cxnSpMkLst>
        </pc:cxnChg>
      </pc:sldChg>
      <pc:sldChg chg="addSp delSp modSp add mod ord">
        <pc:chgData name="Pierre CHAVANNE" userId="2e2e2412-eb49-4787-bd3d-d17adeb25e11" providerId="ADAL" clId="{8E769656-82DF-4740-BA14-9D4801EE0342}" dt="2023-12-11T10:56:51.903" v="3180" actId="478"/>
        <pc:sldMkLst>
          <pc:docMk/>
          <pc:sldMk cId="987265392" sldId="312"/>
        </pc:sldMkLst>
        <pc:spChg chg="mod">
          <ac:chgData name="Pierre CHAVANNE" userId="2e2e2412-eb49-4787-bd3d-d17adeb25e11" providerId="ADAL" clId="{8E769656-82DF-4740-BA14-9D4801EE0342}" dt="2023-12-11T10:56:47.007" v="3179" actId="14100"/>
          <ac:spMkLst>
            <pc:docMk/>
            <pc:sldMk cId="987265392" sldId="312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0:03:36.036" v="1539" actId="14100"/>
          <ac:spMkLst>
            <pc:docMk/>
            <pc:sldMk cId="987265392" sldId="312"/>
            <ac:spMk id="8" creationId="{15A4040C-50A3-5593-AB6E-492E3D6866BA}"/>
          </ac:spMkLst>
        </pc:spChg>
        <pc:picChg chg="add mod">
          <ac:chgData name="Pierre CHAVANNE" userId="2e2e2412-eb49-4787-bd3d-d17adeb25e11" providerId="ADAL" clId="{8E769656-82DF-4740-BA14-9D4801EE0342}" dt="2023-12-11T10:03:42.600" v="1540" actId="1076"/>
          <ac:picMkLst>
            <pc:docMk/>
            <pc:sldMk cId="987265392" sldId="312"/>
            <ac:picMk id="4" creationId="{6CAAA102-F606-AA3F-1809-77BE15C4CF2D}"/>
          </ac:picMkLst>
        </pc:picChg>
        <pc:picChg chg="add mod modCrop">
          <ac:chgData name="Pierre CHAVANNE" userId="2e2e2412-eb49-4787-bd3d-d17adeb25e11" providerId="ADAL" clId="{8E769656-82DF-4740-BA14-9D4801EE0342}" dt="2023-12-11T10:03:33.086" v="1538" actId="14100"/>
          <ac:picMkLst>
            <pc:docMk/>
            <pc:sldMk cId="987265392" sldId="312"/>
            <ac:picMk id="5" creationId="{91A5421D-B56D-FFA7-AEA4-187A814BD45E}"/>
          </ac:picMkLst>
        </pc:picChg>
        <pc:picChg chg="del">
          <ac:chgData name="Pierre CHAVANNE" userId="2e2e2412-eb49-4787-bd3d-d17adeb25e11" providerId="ADAL" clId="{8E769656-82DF-4740-BA14-9D4801EE0342}" dt="2023-12-11T10:01:21.079" v="1518" actId="478"/>
          <ac:picMkLst>
            <pc:docMk/>
            <pc:sldMk cId="987265392" sldId="312"/>
            <ac:picMk id="12" creationId="{57CB0D8F-857D-FD6C-FC26-0976A3D671B6}"/>
          </ac:picMkLst>
        </pc:picChg>
        <pc:picChg chg="del">
          <ac:chgData name="Pierre CHAVANNE" userId="2e2e2412-eb49-4787-bd3d-d17adeb25e11" providerId="ADAL" clId="{8E769656-82DF-4740-BA14-9D4801EE0342}" dt="2023-12-11T10:01:23.084" v="1521" actId="478"/>
          <ac:picMkLst>
            <pc:docMk/>
            <pc:sldMk cId="987265392" sldId="312"/>
            <ac:picMk id="13" creationId="{DD2F2E39-B36D-7D3D-A07F-F405396398C0}"/>
          </ac:picMkLst>
        </pc:picChg>
        <pc:picChg chg="del">
          <ac:chgData name="Pierre CHAVANNE" userId="2e2e2412-eb49-4787-bd3d-d17adeb25e11" providerId="ADAL" clId="{8E769656-82DF-4740-BA14-9D4801EE0342}" dt="2023-12-11T10:01:21.895" v="1519" actId="478"/>
          <ac:picMkLst>
            <pc:docMk/>
            <pc:sldMk cId="987265392" sldId="312"/>
            <ac:picMk id="15" creationId="{46362E79-B6B3-786B-2E38-5B07EC4CC2A6}"/>
          </ac:picMkLst>
        </pc:picChg>
        <pc:cxnChg chg="add del mod">
          <ac:chgData name="Pierre CHAVANNE" userId="2e2e2412-eb49-4787-bd3d-d17adeb25e11" providerId="ADAL" clId="{8E769656-82DF-4740-BA14-9D4801EE0342}" dt="2023-12-11T10:56:51.903" v="3180" actId="478"/>
          <ac:cxnSpMkLst>
            <pc:docMk/>
            <pc:sldMk cId="987265392" sldId="312"/>
            <ac:cxnSpMk id="7" creationId="{125F2D4D-092C-5B82-A280-27D5A0C191B1}"/>
          </ac:cxnSpMkLst>
        </pc:cxnChg>
        <pc:cxnChg chg="del">
          <ac:chgData name="Pierre CHAVANNE" userId="2e2e2412-eb49-4787-bd3d-d17adeb25e11" providerId="ADAL" clId="{8E769656-82DF-4740-BA14-9D4801EE0342}" dt="2023-12-11T10:01:22.742" v="1520" actId="478"/>
          <ac:cxnSpMkLst>
            <pc:docMk/>
            <pc:sldMk cId="987265392" sldId="312"/>
            <ac:cxnSpMk id="14" creationId="{E21AC21D-0F31-05B5-FC15-5F23D2D005C7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0:48:47.854" v="2759" actId="478"/>
        <pc:sldMkLst>
          <pc:docMk/>
          <pc:sldMk cId="160292422" sldId="313"/>
        </pc:sldMkLst>
        <pc:spChg chg="mod">
          <ac:chgData name="Pierre CHAVANNE" userId="2e2e2412-eb49-4787-bd3d-d17adeb25e11" providerId="ADAL" clId="{8E769656-82DF-4740-BA14-9D4801EE0342}" dt="2023-12-11T10:47:42.803" v="2690" actId="20577"/>
          <ac:spMkLst>
            <pc:docMk/>
            <pc:sldMk cId="160292422" sldId="313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0:47:51.313" v="2691"/>
          <ac:spMkLst>
            <pc:docMk/>
            <pc:sldMk cId="160292422" sldId="313"/>
            <ac:spMk id="8" creationId="{2F9FB4FF-81EC-1CDC-52DE-524663965391}"/>
          </ac:spMkLst>
        </pc:spChg>
        <pc:picChg chg="add mod">
          <ac:chgData name="Pierre CHAVANNE" userId="2e2e2412-eb49-4787-bd3d-d17adeb25e11" providerId="ADAL" clId="{8E769656-82DF-4740-BA14-9D4801EE0342}" dt="2023-12-11T10:47:56.776" v="2693"/>
          <ac:picMkLst>
            <pc:docMk/>
            <pc:sldMk cId="160292422" sldId="313"/>
            <ac:picMk id="3" creationId="{17A92481-FE12-4A0B-A27B-8B3F7208C49C}"/>
          </ac:picMkLst>
        </pc:picChg>
        <pc:picChg chg="del">
          <ac:chgData name="Pierre CHAVANNE" userId="2e2e2412-eb49-4787-bd3d-d17adeb25e11" providerId="ADAL" clId="{8E769656-82DF-4740-BA14-9D4801EE0342}" dt="2023-12-11T10:47:56.453" v="2692" actId="478"/>
          <ac:picMkLst>
            <pc:docMk/>
            <pc:sldMk cId="160292422" sldId="313"/>
            <ac:picMk id="13" creationId="{7FB49E06-6225-686D-92D3-20CB5AC6E5D5}"/>
          </ac:picMkLst>
        </pc:picChg>
        <pc:cxnChg chg="del">
          <ac:chgData name="Pierre CHAVANNE" userId="2e2e2412-eb49-4787-bd3d-d17adeb25e11" providerId="ADAL" clId="{8E769656-82DF-4740-BA14-9D4801EE0342}" dt="2023-12-11T10:48:47.854" v="2759" actId="478"/>
          <ac:cxnSpMkLst>
            <pc:docMk/>
            <pc:sldMk cId="160292422" sldId="313"/>
            <ac:cxnSpMk id="14" creationId="{D7CABE47-2801-F070-5DBC-EC0F9BF401A1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0:48:44.127" v="2758" actId="478"/>
        <pc:sldMkLst>
          <pc:docMk/>
          <pc:sldMk cId="3368016770" sldId="314"/>
        </pc:sldMkLst>
        <pc:spChg chg="mod">
          <ac:chgData name="Pierre CHAVANNE" userId="2e2e2412-eb49-4787-bd3d-d17adeb25e11" providerId="ADAL" clId="{8E769656-82DF-4740-BA14-9D4801EE0342}" dt="2023-12-11T10:48:19.221" v="2719" actId="14100"/>
          <ac:spMkLst>
            <pc:docMk/>
            <pc:sldMk cId="3368016770" sldId="314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0:48:31.049" v="2754" actId="20577"/>
          <ac:spMkLst>
            <pc:docMk/>
            <pc:sldMk cId="3368016770" sldId="314"/>
            <ac:spMk id="8" creationId="{2F9FB4FF-81EC-1CDC-52DE-524663965391}"/>
          </ac:spMkLst>
        </pc:spChg>
        <pc:picChg chg="del">
          <ac:chgData name="Pierre CHAVANNE" userId="2e2e2412-eb49-4787-bd3d-d17adeb25e11" providerId="ADAL" clId="{8E769656-82DF-4740-BA14-9D4801EE0342}" dt="2023-12-11T10:48:37.841" v="2755" actId="478"/>
          <ac:picMkLst>
            <pc:docMk/>
            <pc:sldMk cId="3368016770" sldId="314"/>
            <ac:picMk id="3" creationId="{17A92481-FE12-4A0B-A27B-8B3F7208C49C}"/>
          </ac:picMkLst>
        </pc:picChg>
        <pc:picChg chg="add mod">
          <ac:chgData name="Pierre CHAVANNE" userId="2e2e2412-eb49-4787-bd3d-d17adeb25e11" providerId="ADAL" clId="{8E769656-82DF-4740-BA14-9D4801EE0342}" dt="2023-12-11T10:48:38.094" v="2756"/>
          <ac:picMkLst>
            <pc:docMk/>
            <pc:sldMk cId="3368016770" sldId="314"/>
            <ac:picMk id="4" creationId="{94666A40-3D37-860C-37EC-957CD71B7F7D}"/>
          </ac:picMkLst>
        </pc:picChg>
        <pc:cxnChg chg="del">
          <ac:chgData name="Pierre CHAVANNE" userId="2e2e2412-eb49-4787-bd3d-d17adeb25e11" providerId="ADAL" clId="{8E769656-82DF-4740-BA14-9D4801EE0342}" dt="2023-12-11T10:48:44.127" v="2758" actId="478"/>
          <ac:cxnSpMkLst>
            <pc:docMk/>
            <pc:sldMk cId="3368016770" sldId="314"/>
            <ac:cxnSpMk id="14" creationId="{D7CABE47-2801-F070-5DBC-EC0F9BF401A1}"/>
          </ac:cxnSpMkLst>
        </pc:cxnChg>
      </pc:sldChg>
      <pc:sldChg chg="addSp delSp modSp add del mod">
        <pc:chgData name="Pierre CHAVANNE" userId="2e2e2412-eb49-4787-bd3d-d17adeb25e11" providerId="ADAL" clId="{8E769656-82DF-4740-BA14-9D4801EE0342}" dt="2023-12-11T13:06:00.548" v="7775" actId="47"/>
        <pc:sldMkLst>
          <pc:docMk/>
          <pc:sldMk cId="3475290162" sldId="315"/>
        </pc:sldMkLst>
        <pc:spChg chg="mod">
          <ac:chgData name="Pierre CHAVANNE" userId="2e2e2412-eb49-4787-bd3d-d17adeb25e11" providerId="ADAL" clId="{8E769656-82DF-4740-BA14-9D4801EE0342}" dt="2023-12-11T11:21:30.355" v="4541" actId="20577"/>
          <ac:spMkLst>
            <pc:docMk/>
            <pc:sldMk cId="3475290162" sldId="315"/>
            <ac:spMk id="7" creationId="{6AD4CBD7-D9A7-169D-4153-387F366F0D29}"/>
          </ac:spMkLst>
        </pc:spChg>
        <pc:picChg chg="add mod">
          <ac:chgData name="Pierre CHAVANNE" userId="2e2e2412-eb49-4787-bd3d-d17adeb25e11" providerId="ADAL" clId="{8E769656-82DF-4740-BA14-9D4801EE0342}" dt="2023-12-11T11:21:23.856" v="4526" actId="1076"/>
          <ac:picMkLst>
            <pc:docMk/>
            <pc:sldMk cId="3475290162" sldId="315"/>
            <ac:picMk id="4" creationId="{4F3C5F4B-D971-0666-E0CA-452100DA6C15}"/>
          </ac:picMkLst>
        </pc:picChg>
        <pc:picChg chg="add mod">
          <ac:chgData name="Pierre CHAVANNE" userId="2e2e2412-eb49-4787-bd3d-d17adeb25e11" providerId="ADAL" clId="{8E769656-82DF-4740-BA14-9D4801EE0342}" dt="2023-12-11T11:23:13.730" v="4622" actId="1076"/>
          <ac:picMkLst>
            <pc:docMk/>
            <pc:sldMk cId="3475290162" sldId="315"/>
            <ac:picMk id="8" creationId="{0E36CE85-7128-154E-8FF7-2199BBBCF904}"/>
          </ac:picMkLst>
        </pc:picChg>
        <pc:picChg chg="del">
          <ac:chgData name="Pierre CHAVANNE" userId="2e2e2412-eb49-4787-bd3d-d17adeb25e11" providerId="ADAL" clId="{8E769656-82DF-4740-BA14-9D4801EE0342}" dt="2023-12-11T11:21:15.670" v="4520" actId="478"/>
          <ac:picMkLst>
            <pc:docMk/>
            <pc:sldMk cId="3475290162" sldId="315"/>
            <ac:picMk id="11" creationId="{A59A8CA7-335D-148D-139F-61BD26B83F34}"/>
          </ac:picMkLst>
        </pc:picChg>
        <pc:picChg chg="del">
          <ac:chgData name="Pierre CHAVANNE" userId="2e2e2412-eb49-4787-bd3d-d17adeb25e11" providerId="ADAL" clId="{8E769656-82DF-4740-BA14-9D4801EE0342}" dt="2023-12-11T11:21:32.559" v="4542" actId="478"/>
          <ac:picMkLst>
            <pc:docMk/>
            <pc:sldMk cId="3475290162" sldId="315"/>
            <ac:picMk id="12" creationId="{7F166E49-5E44-F0C3-B77D-C8572D9F996B}"/>
          </ac:picMkLst>
        </pc:picChg>
        <pc:picChg chg="del mod">
          <ac:chgData name="Pierre CHAVANNE" userId="2e2e2412-eb49-4787-bd3d-d17adeb25e11" providerId="ADAL" clId="{8E769656-82DF-4740-BA14-9D4801EE0342}" dt="2023-12-11T11:21:15.091" v="4519" actId="478"/>
          <ac:picMkLst>
            <pc:docMk/>
            <pc:sldMk cId="3475290162" sldId="315"/>
            <ac:picMk id="18" creationId="{6FF4A4E8-F543-3FFC-4012-78A6BE00123C}"/>
          </ac:picMkLst>
        </pc:picChg>
      </pc:sldChg>
      <pc:sldChg chg="addSp delSp modSp add del mod">
        <pc:chgData name="Pierre CHAVANNE" userId="2e2e2412-eb49-4787-bd3d-d17adeb25e11" providerId="ADAL" clId="{8E769656-82DF-4740-BA14-9D4801EE0342}" dt="2023-12-11T13:01:43.265" v="7542" actId="47"/>
        <pc:sldMkLst>
          <pc:docMk/>
          <pc:sldMk cId="719242587" sldId="316"/>
        </pc:sldMkLst>
        <pc:spChg chg="mod">
          <ac:chgData name="Pierre CHAVANNE" userId="2e2e2412-eb49-4787-bd3d-d17adeb25e11" providerId="ADAL" clId="{8E769656-82DF-4740-BA14-9D4801EE0342}" dt="2023-12-11T11:21:51.388" v="4566" actId="6549"/>
          <ac:spMkLst>
            <pc:docMk/>
            <pc:sldMk cId="719242587" sldId="316"/>
            <ac:spMk id="7" creationId="{6AD4CBD7-D9A7-169D-4153-387F366F0D29}"/>
          </ac:spMkLst>
        </pc:spChg>
        <pc:picChg chg="del">
          <ac:chgData name="Pierre CHAVANNE" userId="2e2e2412-eb49-4787-bd3d-d17adeb25e11" providerId="ADAL" clId="{8E769656-82DF-4740-BA14-9D4801EE0342}" dt="2023-12-11T11:21:41.136" v="4544" actId="478"/>
          <ac:picMkLst>
            <pc:docMk/>
            <pc:sldMk cId="719242587" sldId="316"/>
            <ac:picMk id="4" creationId="{4F3C5F4B-D971-0666-E0CA-452100DA6C15}"/>
          </ac:picMkLst>
        </pc:picChg>
        <pc:picChg chg="add mod">
          <ac:chgData name="Pierre CHAVANNE" userId="2e2e2412-eb49-4787-bd3d-d17adeb25e11" providerId="ADAL" clId="{8E769656-82DF-4740-BA14-9D4801EE0342}" dt="2023-12-11T11:21:46.056" v="4548" actId="1076"/>
          <ac:picMkLst>
            <pc:docMk/>
            <pc:sldMk cId="719242587" sldId="316"/>
            <ac:picMk id="5" creationId="{6B5CF16E-DB4C-E4DB-5CAA-A96B62B0D7F9}"/>
          </ac:picMkLst>
        </pc:picChg>
        <pc:picChg chg="add mod">
          <ac:chgData name="Pierre CHAVANNE" userId="2e2e2412-eb49-4787-bd3d-d17adeb25e11" providerId="ADAL" clId="{8E769656-82DF-4740-BA14-9D4801EE0342}" dt="2023-12-11T11:23:24.056" v="4627" actId="1076"/>
          <ac:picMkLst>
            <pc:docMk/>
            <pc:sldMk cId="719242587" sldId="316"/>
            <ac:picMk id="9" creationId="{FCD467C2-72EA-85B8-CEB3-C866474CD4D3}"/>
          </ac:picMkLst>
        </pc:picChg>
      </pc:sldChg>
      <pc:sldChg chg="addSp delSp modSp add del mod">
        <pc:chgData name="Pierre CHAVANNE" userId="2e2e2412-eb49-4787-bd3d-d17adeb25e11" providerId="ADAL" clId="{8E769656-82DF-4740-BA14-9D4801EE0342}" dt="2023-12-11T13:18:00.958" v="8247" actId="47"/>
        <pc:sldMkLst>
          <pc:docMk/>
          <pc:sldMk cId="1943493688" sldId="317"/>
        </pc:sldMkLst>
        <pc:spChg chg="mod">
          <ac:chgData name="Pierre CHAVANNE" userId="2e2e2412-eb49-4787-bd3d-d17adeb25e11" providerId="ADAL" clId="{8E769656-82DF-4740-BA14-9D4801EE0342}" dt="2023-12-11T11:22:12.290" v="4593" actId="20577"/>
          <ac:spMkLst>
            <pc:docMk/>
            <pc:sldMk cId="1943493688" sldId="317"/>
            <ac:spMk id="7" creationId="{6AD4CBD7-D9A7-169D-4153-387F366F0D29}"/>
          </ac:spMkLst>
        </pc:spChg>
        <pc:picChg chg="add mod">
          <ac:chgData name="Pierre CHAVANNE" userId="2e2e2412-eb49-4787-bd3d-d17adeb25e11" providerId="ADAL" clId="{8E769656-82DF-4740-BA14-9D4801EE0342}" dt="2023-12-11T11:22:05.084" v="4572" actId="1076"/>
          <ac:picMkLst>
            <pc:docMk/>
            <pc:sldMk cId="1943493688" sldId="317"/>
            <ac:picMk id="4" creationId="{5CAAD2A1-33E6-E6E8-E313-77E40C22148B}"/>
          </ac:picMkLst>
        </pc:picChg>
        <pc:picChg chg="del">
          <ac:chgData name="Pierre CHAVANNE" userId="2e2e2412-eb49-4787-bd3d-d17adeb25e11" providerId="ADAL" clId="{8E769656-82DF-4740-BA14-9D4801EE0342}" dt="2023-12-11T11:22:04.092" v="4571" actId="478"/>
          <ac:picMkLst>
            <pc:docMk/>
            <pc:sldMk cId="1943493688" sldId="317"/>
            <ac:picMk id="5" creationId="{6B5CF16E-DB4C-E4DB-5CAA-A96B62B0D7F9}"/>
          </ac:picMkLst>
        </pc:picChg>
        <pc:picChg chg="add mod">
          <ac:chgData name="Pierre CHAVANNE" userId="2e2e2412-eb49-4787-bd3d-d17adeb25e11" providerId="ADAL" clId="{8E769656-82DF-4740-BA14-9D4801EE0342}" dt="2023-12-11T11:23:48.055" v="4632" actId="1076"/>
          <ac:picMkLst>
            <pc:docMk/>
            <pc:sldMk cId="1943493688" sldId="317"/>
            <ac:picMk id="9" creationId="{52A5593F-8342-E959-3490-F39326BE9A33}"/>
          </ac:picMkLst>
        </pc:picChg>
      </pc:sldChg>
      <pc:sldChg chg="addSp delSp modSp add del mod">
        <pc:chgData name="Pierre CHAVANNE" userId="2e2e2412-eb49-4787-bd3d-d17adeb25e11" providerId="ADAL" clId="{8E769656-82DF-4740-BA14-9D4801EE0342}" dt="2023-12-11T13:18:09.729" v="8249" actId="47"/>
        <pc:sldMkLst>
          <pc:docMk/>
          <pc:sldMk cId="4195112195" sldId="318"/>
        </pc:sldMkLst>
        <pc:spChg chg="mod">
          <ac:chgData name="Pierre CHAVANNE" userId="2e2e2412-eb49-4787-bd3d-d17adeb25e11" providerId="ADAL" clId="{8E769656-82DF-4740-BA14-9D4801EE0342}" dt="2023-12-11T11:22:26.106" v="4611" actId="20577"/>
          <ac:spMkLst>
            <pc:docMk/>
            <pc:sldMk cId="4195112195" sldId="318"/>
            <ac:spMk id="7" creationId="{6AD4CBD7-D9A7-169D-4153-387F366F0D29}"/>
          </ac:spMkLst>
        </pc:spChg>
        <pc:picChg chg="del">
          <ac:chgData name="Pierre CHAVANNE" userId="2e2e2412-eb49-4787-bd3d-d17adeb25e11" providerId="ADAL" clId="{8E769656-82DF-4740-BA14-9D4801EE0342}" dt="2023-12-11T11:22:18.090" v="4595" actId="478"/>
          <ac:picMkLst>
            <pc:docMk/>
            <pc:sldMk cId="4195112195" sldId="318"/>
            <ac:picMk id="4" creationId="{5CAAD2A1-33E6-E6E8-E313-77E40C22148B}"/>
          </ac:picMkLst>
        </pc:picChg>
        <pc:picChg chg="add mod">
          <ac:chgData name="Pierre CHAVANNE" userId="2e2e2412-eb49-4787-bd3d-d17adeb25e11" providerId="ADAL" clId="{8E769656-82DF-4740-BA14-9D4801EE0342}" dt="2023-12-11T11:22:35.441" v="4617" actId="1076"/>
          <ac:picMkLst>
            <pc:docMk/>
            <pc:sldMk cId="4195112195" sldId="318"/>
            <ac:picMk id="5" creationId="{41D33BC2-CC10-546F-B544-60530763D35E}"/>
          </ac:picMkLst>
        </pc:picChg>
        <pc:picChg chg="add mod">
          <ac:chgData name="Pierre CHAVANNE" userId="2e2e2412-eb49-4787-bd3d-d17adeb25e11" providerId="ADAL" clId="{8E769656-82DF-4740-BA14-9D4801EE0342}" dt="2023-12-11T11:23:56.126" v="4637" actId="1076"/>
          <ac:picMkLst>
            <pc:docMk/>
            <pc:sldMk cId="4195112195" sldId="318"/>
            <ac:picMk id="9" creationId="{6B86A3EC-7BB7-FE08-19DE-CC08D3C09FB7}"/>
          </ac:picMkLst>
        </pc:picChg>
      </pc:sldChg>
      <pc:sldChg chg="addSp delSp modSp add mod">
        <pc:chgData name="Pierre CHAVANNE" userId="2e2e2412-eb49-4787-bd3d-d17adeb25e11" providerId="ADAL" clId="{8E769656-82DF-4740-BA14-9D4801EE0342}" dt="2023-12-11T14:49:21.057" v="10459" actId="478"/>
        <pc:sldMkLst>
          <pc:docMk/>
          <pc:sldMk cId="2249207064" sldId="319"/>
        </pc:sldMkLst>
        <pc:spChg chg="mod">
          <ac:chgData name="Pierre CHAVANNE" userId="2e2e2412-eb49-4787-bd3d-d17adeb25e11" providerId="ADAL" clId="{8E769656-82DF-4740-BA14-9D4801EE0342}" dt="2023-12-11T13:01:23.629" v="7537" actId="20577"/>
          <ac:spMkLst>
            <pc:docMk/>
            <pc:sldMk cId="2249207064" sldId="319"/>
            <ac:spMk id="7" creationId="{6AD4CBD7-D9A7-169D-4153-387F366F0D29}"/>
          </ac:spMkLst>
        </pc:spChg>
        <pc:spChg chg="mod">
          <ac:chgData name="Pierre CHAVANNE" userId="2e2e2412-eb49-4787-bd3d-d17adeb25e11" providerId="ADAL" clId="{8E769656-82DF-4740-BA14-9D4801EE0342}" dt="2023-12-11T13:19:36.270" v="8335" actId="20577"/>
          <ac:spMkLst>
            <pc:docMk/>
            <pc:sldMk cId="2249207064" sldId="319"/>
            <ac:spMk id="10" creationId="{18B9EFBA-7F92-0321-957B-DC732358BF5F}"/>
          </ac:spMkLst>
        </pc:spChg>
        <pc:picChg chg="add mod">
          <ac:chgData name="Pierre CHAVANNE" userId="2e2e2412-eb49-4787-bd3d-d17adeb25e11" providerId="ADAL" clId="{8E769656-82DF-4740-BA14-9D4801EE0342}" dt="2023-12-11T14:12:54.750" v="9543" actId="1037"/>
          <ac:picMkLst>
            <pc:docMk/>
            <pc:sldMk cId="2249207064" sldId="319"/>
            <ac:picMk id="3" creationId="{D052C878-63F5-CB2C-319B-B621843BE9EA}"/>
          </ac:picMkLst>
        </pc:picChg>
        <pc:picChg chg="add mod">
          <ac:chgData name="Pierre CHAVANNE" userId="2e2e2412-eb49-4787-bd3d-d17adeb25e11" providerId="ADAL" clId="{8E769656-82DF-4740-BA14-9D4801EE0342}" dt="2023-12-11T14:49:14.944" v="10445" actId="1036"/>
          <ac:picMkLst>
            <pc:docMk/>
            <pc:sldMk cId="2249207064" sldId="319"/>
            <ac:picMk id="5" creationId="{89E71372-633B-C96E-833D-0C63FFF8C011}"/>
          </ac:picMkLst>
        </pc:picChg>
        <pc:picChg chg="add del mod">
          <ac:chgData name="Pierre CHAVANNE" userId="2e2e2412-eb49-4787-bd3d-d17adeb25e11" providerId="ADAL" clId="{8E769656-82DF-4740-BA14-9D4801EE0342}" dt="2023-12-11T13:58:09.823" v="9356" actId="478"/>
          <ac:picMkLst>
            <pc:docMk/>
            <pc:sldMk cId="2249207064" sldId="319"/>
            <ac:picMk id="9" creationId="{008589AA-59A6-2174-6B98-AE8F07F685EF}"/>
          </ac:picMkLst>
        </pc:picChg>
        <pc:picChg chg="del">
          <ac:chgData name="Pierre CHAVANNE" userId="2e2e2412-eb49-4787-bd3d-d17adeb25e11" providerId="ADAL" clId="{8E769656-82DF-4740-BA14-9D4801EE0342}" dt="2023-12-11T13:01:33.286" v="7538" actId="478"/>
          <ac:picMkLst>
            <pc:docMk/>
            <pc:sldMk cId="2249207064" sldId="319"/>
            <ac:picMk id="12" creationId="{7F166E49-5E44-F0C3-B77D-C8572D9F996B}"/>
          </ac:picMkLst>
        </pc:picChg>
        <pc:picChg chg="add mod modCrop">
          <ac:chgData name="Pierre CHAVANNE" userId="2e2e2412-eb49-4787-bd3d-d17adeb25e11" providerId="ADAL" clId="{8E769656-82DF-4740-BA14-9D4801EE0342}" dt="2023-12-11T14:49:18.801" v="10458" actId="1035"/>
          <ac:picMkLst>
            <pc:docMk/>
            <pc:sldMk cId="2249207064" sldId="319"/>
            <ac:picMk id="15" creationId="{3F1C550A-C601-9894-EE88-910FA14D429D}"/>
          </ac:picMkLst>
        </pc:picChg>
        <pc:picChg chg="del">
          <ac:chgData name="Pierre CHAVANNE" userId="2e2e2412-eb49-4787-bd3d-d17adeb25e11" providerId="ADAL" clId="{8E769656-82DF-4740-BA14-9D4801EE0342}" dt="2023-12-11T13:01:50.345" v="7543" actId="478"/>
          <ac:picMkLst>
            <pc:docMk/>
            <pc:sldMk cId="2249207064" sldId="319"/>
            <ac:picMk id="20" creationId="{17F72769-34E8-32BA-AADE-A7AE015C71F6}"/>
          </ac:picMkLst>
        </pc:picChg>
        <pc:picChg chg="del">
          <ac:chgData name="Pierre CHAVANNE" userId="2e2e2412-eb49-4787-bd3d-d17adeb25e11" providerId="ADAL" clId="{8E769656-82DF-4740-BA14-9D4801EE0342}" dt="2023-12-11T13:01:50.836" v="7544" actId="478"/>
          <ac:picMkLst>
            <pc:docMk/>
            <pc:sldMk cId="2249207064" sldId="319"/>
            <ac:picMk id="22" creationId="{2B87D39B-46AC-8967-91AE-1DCB711607D8}"/>
          </ac:picMkLst>
        </pc:picChg>
        <pc:cxnChg chg="add del mod">
          <ac:chgData name="Pierre CHAVANNE" userId="2e2e2412-eb49-4787-bd3d-d17adeb25e11" providerId="ADAL" clId="{8E769656-82DF-4740-BA14-9D4801EE0342}" dt="2023-12-11T13:42:35.485" v="9000" actId="478"/>
          <ac:cxnSpMkLst>
            <pc:docMk/>
            <pc:sldMk cId="2249207064" sldId="319"/>
            <ac:cxnSpMk id="11" creationId="{C021E13C-EF4A-813D-9A52-8A5DCFA31E02}"/>
          </ac:cxnSpMkLst>
        </pc:cxnChg>
        <pc:cxnChg chg="add del mod">
          <ac:chgData name="Pierre CHAVANNE" userId="2e2e2412-eb49-4787-bd3d-d17adeb25e11" providerId="ADAL" clId="{8E769656-82DF-4740-BA14-9D4801EE0342}" dt="2023-12-11T13:42:35.485" v="9000" actId="478"/>
          <ac:cxnSpMkLst>
            <pc:docMk/>
            <pc:sldMk cId="2249207064" sldId="319"/>
            <ac:cxnSpMk id="13" creationId="{F026B593-9FE9-8FA2-E5FA-A759D40ADE35}"/>
          </ac:cxnSpMkLst>
        </pc:cxnChg>
        <pc:cxnChg chg="add del mod">
          <ac:chgData name="Pierre CHAVANNE" userId="2e2e2412-eb49-4787-bd3d-d17adeb25e11" providerId="ADAL" clId="{8E769656-82DF-4740-BA14-9D4801EE0342}" dt="2023-12-11T14:13:14.021" v="9552" actId="478"/>
          <ac:cxnSpMkLst>
            <pc:docMk/>
            <pc:sldMk cId="2249207064" sldId="319"/>
            <ac:cxnSpMk id="16" creationId="{A21D545A-13F2-CA7F-4D3F-1944771AC8FF}"/>
          </ac:cxnSpMkLst>
        </pc:cxnChg>
        <pc:cxnChg chg="add del mod">
          <ac:chgData name="Pierre CHAVANNE" userId="2e2e2412-eb49-4787-bd3d-d17adeb25e11" providerId="ADAL" clId="{8E769656-82DF-4740-BA14-9D4801EE0342}" dt="2023-12-11T14:13:14.929" v="9553" actId="478"/>
          <ac:cxnSpMkLst>
            <pc:docMk/>
            <pc:sldMk cId="2249207064" sldId="319"/>
            <ac:cxnSpMk id="17" creationId="{A968C1FB-6223-C635-A178-8C2FA10CFC20}"/>
          </ac:cxnSpMkLst>
        </pc:cxnChg>
        <pc:cxnChg chg="add del mod">
          <ac:chgData name="Pierre CHAVANNE" userId="2e2e2412-eb49-4787-bd3d-d17adeb25e11" providerId="ADAL" clId="{8E769656-82DF-4740-BA14-9D4801EE0342}" dt="2023-12-11T14:49:21.057" v="10459" actId="478"/>
          <ac:cxnSpMkLst>
            <pc:docMk/>
            <pc:sldMk cId="2249207064" sldId="319"/>
            <ac:cxnSpMk id="18" creationId="{EE018B6D-3247-2613-1889-4A02BFC9FEB1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4:49:30.012" v="10484" actId="478"/>
        <pc:sldMkLst>
          <pc:docMk/>
          <pc:sldMk cId="595425293" sldId="320"/>
        </pc:sldMkLst>
        <pc:spChg chg="mod">
          <ac:chgData name="Pierre CHAVANNE" userId="2e2e2412-eb49-4787-bd3d-d17adeb25e11" providerId="ADAL" clId="{8E769656-82DF-4740-BA14-9D4801EE0342}" dt="2023-12-11T13:06:29.507" v="7801" actId="6549"/>
          <ac:spMkLst>
            <pc:docMk/>
            <pc:sldMk cId="595425293" sldId="320"/>
            <ac:spMk id="7" creationId="{6AD4CBD7-D9A7-169D-4153-387F366F0D29}"/>
          </ac:spMkLst>
        </pc:spChg>
        <pc:spChg chg="mod">
          <ac:chgData name="Pierre CHAVANNE" userId="2e2e2412-eb49-4787-bd3d-d17adeb25e11" providerId="ADAL" clId="{8E769656-82DF-4740-BA14-9D4801EE0342}" dt="2023-12-11T13:19:33.216" v="8333" actId="20577"/>
          <ac:spMkLst>
            <pc:docMk/>
            <pc:sldMk cId="595425293" sldId="320"/>
            <ac:spMk id="10" creationId="{18B9EFBA-7F92-0321-957B-DC732358BF5F}"/>
          </ac:spMkLst>
        </pc:spChg>
        <pc:picChg chg="del">
          <ac:chgData name="Pierre CHAVANNE" userId="2e2e2412-eb49-4787-bd3d-d17adeb25e11" providerId="ADAL" clId="{8E769656-82DF-4740-BA14-9D4801EE0342}" dt="2023-12-11T13:06:18.599" v="7777" actId="478"/>
          <ac:picMkLst>
            <pc:docMk/>
            <pc:sldMk cId="595425293" sldId="320"/>
            <ac:picMk id="3" creationId="{D052C878-63F5-CB2C-319B-B621843BE9EA}"/>
          </ac:picMkLst>
        </pc:picChg>
        <pc:picChg chg="del">
          <ac:chgData name="Pierre CHAVANNE" userId="2e2e2412-eb49-4787-bd3d-d17adeb25e11" providerId="ADAL" clId="{8E769656-82DF-4740-BA14-9D4801EE0342}" dt="2023-12-11T13:06:19.630" v="7778" actId="478"/>
          <ac:picMkLst>
            <pc:docMk/>
            <pc:sldMk cId="595425293" sldId="320"/>
            <ac:picMk id="5" creationId="{89E71372-633B-C96E-833D-0C63FFF8C011}"/>
          </ac:picMkLst>
        </pc:picChg>
        <pc:picChg chg="add mod">
          <ac:chgData name="Pierre CHAVANNE" userId="2e2e2412-eb49-4787-bd3d-d17adeb25e11" providerId="ADAL" clId="{8E769656-82DF-4740-BA14-9D4801EE0342}" dt="2023-12-11T14:49:23.780" v="10463" actId="1036"/>
          <ac:picMkLst>
            <pc:docMk/>
            <pc:sldMk cId="595425293" sldId="320"/>
            <ac:picMk id="8" creationId="{0B0EF97D-3B1E-30BB-F474-E92FE16B7188}"/>
          </ac:picMkLst>
        </pc:picChg>
        <pc:picChg chg="del">
          <ac:chgData name="Pierre CHAVANNE" userId="2e2e2412-eb49-4787-bd3d-d17adeb25e11" providerId="ADAL" clId="{8E769656-82DF-4740-BA14-9D4801EE0342}" dt="2023-12-11T13:06:20.016" v="7779" actId="478"/>
          <ac:picMkLst>
            <pc:docMk/>
            <pc:sldMk cId="595425293" sldId="320"/>
            <ac:picMk id="9" creationId="{008589AA-59A6-2174-6B98-AE8F07F685EF}"/>
          </ac:picMkLst>
        </pc:picChg>
        <pc:picChg chg="add del mod">
          <ac:chgData name="Pierre CHAVANNE" userId="2e2e2412-eb49-4787-bd3d-d17adeb25e11" providerId="ADAL" clId="{8E769656-82DF-4740-BA14-9D4801EE0342}" dt="2023-12-11T13:58:29.284" v="9360" actId="478"/>
          <ac:picMkLst>
            <pc:docMk/>
            <pc:sldMk cId="595425293" sldId="320"/>
            <ac:picMk id="12" creationId="{00FADC39-6140-B053-157A-6488A6B38ACE}"/>
          </ac:picMkLst>
        </pc:picChg>
        <pc:picChg chg="add mod">
          <ac:chgData name="Pierre CHAVANNE" userId="2e2e2412-eb49-4787-bd3d-d17adeb25e11" providerId="ADAL" clId="{8E769656-82DF-4740-BA14-9D4801EE0342}" dt="2023-12-11T14:12:55.982" v="9544" actId="1037"/>
          <ac:picMkLst>
            <pc:docMk/>
            <pc:sldMk cId="595425293" sldId="320"/>
            <ac:picMk id="14" creationId="{D083DF6C-C39B-F1FC-A84B-0E3E4CA6EDB7}"/>
          </ac:picMkLst>
        </pc:picChg>
        <pc:picChg chg="add mod modCrop">
          <ac:chgData name="Pierre CHAVANNE" userId="2e2e2412-eb49-4787-bd3d-d17adeb25e11" providerId="ADAL" clId="{8E769656-82DF-4740-BA14-9D4801EE0342}" dt="2023-12-11T14:49:27.121" v="10483" actId="1036"/>
          <ac:picMkLst>
            <pc:docMk/>
            <pc:sldMk cId="595425293" sldId="320"/>
            <ac:picMk id="18" creationId="{78F4221C-B887-5C66-AE16-A43AB674CFDB}"/>
          </ac:picMkLst>
        </pc:picChg>
        <pc:cxnChg chg="add del mod">
          <ac:chgData name="Pierre CHAVANNE" userId="2e2e2412-eb49-4787-bd3d-d17adeb25e11" providerId="ADAL" clId="{8E769656-82DF-4740-BA14-9D4801EE0342}" dt="2023-12-11T13:42:55.858" v="9010" actId="478"/>
          <ac:cxnSpMkLst>
            <pc:docMk/>
            <pc:sldMk cId="595425293" sldId="320"/>
            <ac:cxnSpMk id="15" creationId="{C89BAB29-061C-65EB-94BE-3BD1E39EAFB3}"/>
          </ac:cxnSpMkLst>
        </pc:cxnChg>
        <pc:cxnChg chg="add del mod">
          <ac:chgData name="Pierre CHAVANNE" userId="2e2e2412-eb49-4787-bd3d-d17adeb25e11" providerId="ADAL" clId="{8E769656-82DF-4740-BA14-9D4801EE0342}" dt="2023-12-11T13:42:55.858" v="9010" actId="478"/>
          <ac:cxnSpMkLst>
            <pc:docMk/>
            <pc:sldMk cId="595425293" sldId="320"/>
            <ac:cxnSpMk id="16" creationId="{FC10E101-1A14-C12F-5620-4BA2264D6F4D}"/>
          </ac:cxnSpMkLst>
        </pc:cxnChg>
        <pc:cxnChg chg="add del mod">
          <ac:chgData name="Pierre CHAVANNE" userId="2e2e2412-eb49-4787-bd3d-d17adeb25e11" providerId="ADAL" clId="{8E769656-82DF-4740-BA14-9D4801EE0342}" dt="2023-12-11T14:13:16.938" v="9555" actId="478"/>
          <ac:cxnSpMkLst>
            <pc:docMk/>
            <pc:sldMk cId="595425293" sldId="320"/>
            <ac:cxnSpMk id="19" creationId="{7F222AF8-B63D-C861-99C0-A700C8D6FAA7}"/>
          </ac:cxnSpMkLst>
        </pc:cxnChg>
        <pc:cxnChg chg="add del mod">
          <ac:chgData name="Pierre CHAVANNE" userId="2e2e2412-eb49-4787-bd3d-d17adeb25e11" providerId="ADAL" clId="{8E769656-82DF-4740-BA14-9D4801EE0342}" dt="2023-12-11T14:13:16.267" v="9554" actId="478"/>
          <ac:cxnSpMkLst>
            <pc:docMk/>
            <pc:sldMk cId="595425293" sldId="320"/>
            <ac:cxnSpMk id="20" creationId="{0143107C-34AE-C890-6F56-B62592A5C57C}"/>
          </ac:cxnSpMkLst>
        </pc:cxnChg>
        <pc:cxnChg chg="add del mod">
          <ac:chgData name="Pierre CHAVANNE" userId="2e2e2412-eb49-4787-bd3d-d17adeb25e11" providerId="ADAL" clId="{8E769656-82DF-4740-BA14-9D4801EE0342}" dt="2023-12-11T14:49:30.012" v="10484" actId="478"/>
          <ac:cxnSpMkLst>
            <pc:docMk/>
            <pc:sldMk cId="595425293" sldId="320"/>
            <ac:cxnSpMk id="21" creationId="{2DE72C34-E6AE-6623-776C-C2D766F58C5D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4:49:38.568" v="10506" actId="478"/>
        <pc:sldMkLst>
          <pc:docMk/>
          <pc:sldMk cId="304592153" sldId="321"/>
        </pc:sldMkLst>
        <pc:spChg chg="mod">
          <ac:chgData name="Pierre CHAVANNE" userId="2e2e2412-eb49-4787-bd3d-d17adeb25e11" providerId="ADAL" clId="{8E769656-82DF-4740-BA14-9D4801EE0342}" dt="2023-12-11T13:15:41.842" v="8013" actId="20577"/>
          <ac:spMkLst>
            <pc:docMk/>
            <pc:sldMk cId="304592153" sldId="321"/>
            <ac:spMk id="7" creationId="{6AD4CBD7-D9A7-169D-4153-387F366F0D29}"/>
          </ac:spMkLst>
        </pc:spChg>
        <pc:spChg chg="mod">
          <ac:chgData name="Pierre CHAVANNE" userId="2e2e2412-eb49-4787-bd3d-d17adeb25e11" providerId="ADAL" clId="{8E769656-82DF-4740-BA14-9D4801EE0342}" dt="2023-12-11T13:19:29.830" v="8331" actId="20577"/>
          <ac:spMkLst>
            <pc:docMk/>
            <pc:sldMk cId="304592153" sldId="321"/>
            <ac:spMk id="10" creationId="{18B9EFBA-7F92-0321-957B-DC732358BF5F}"/>
          </ac:spMkLst>
        </pc:spChg>
        <pc:picChg chg="add mod">
          <ac:chgData name="Pierre CHAVANNE" userId="2e2e2412-eb49-4787-bd3d-d17adeb25e11" providerId="ADAL" clId="{8E769656-82DF-4740-BA14-9D4801EE0342}" dt="2023-12-11T14:12:58.512" v="9549" actId="1038"/>
          <ac:picMkLst>
            <pc:docMk/>
            <pc:sldMk cId="304592153" sldId="321"/>
            <ac:picMk id="3" creationId="{1B8F65D6-0752-5374-500F-313376E49C36}"/>
          </ac:picMkLst>
        </pc:picChg>
        <pc:picChg chg="add del mod">
          <ac:chgData name="Pierre CHAVANNE" userId="2e2e2412-eb49-4787-bd3d-d17adeb25e11" providerId="ADAL" clId="{8E769656-82DF-4740-BA14-9D4801EE0342}" dt="2023-12-11T13:59:46.572" v="9365" actId="478"/>
          <ac:picMkLst>
            <pc:docMk/>
            <pc:sldMk cId="304592153" sldId="321"/>
            <ac:picMk id="5" creationId="{1990583C-2D3F-7177-4AEE-EF71E27F6D8B}"/>
          </ac:picMkLst>
        </pc:picChg>
        <pc:picChg chg="del">
          <ac:chgData name="Pierre CHAVANNE" userId="2e2e2412-eb49-4787-bd3d-d17adeb25e11" providerId="ADAL" clId="{8E769656-82DF-4740-BA14-9D4801EE0342}" dt="2023-12-11T13:14:27.810" v="7956" actId="478"/>
          <ac:picMkLst>
            <pc:docMk/>
            <pc:sldMk cId="304592153" sldId="321"/>
            <ac:picMk id="8" creationId="{0B0EF97D-3B1E-30BB-F474-E92FE16B7188}"/>
          </ac:picMkLst>
        </pc:picChg>
        <pc:picChg chg="del">
          <ac:chgData name="Pierre CHAVANNE" userId="2e2e2412-eb49-4787-bd3d-d17adeb25e11" providerId="ADAL" clId="{8E769656-82DF-4740-BA14-9D4801EE0342}" dt="2023-12-11T13:14:28.189" v="7957" actId="478"/>
          <ac:picMkLst>
            <pc:docMk/>
            <pc:sldMk cId="304592153" sldId="321"/>
            <ac:picMk id="12" creationId="{00FADC39-6140-B053-157A-6488A6B38ACE}"/>
          </ac:picMkLst>
        </pc:picChg>
        <pc:picChg chg="del">
          <ac:chgData name="Pierre CHAVANNE" userId="2e2e2412-eb49-4787-bd3d-d17adeb25e11" providerId="ADAL" clId="{8E769656-82DF-4740-BA14-9D4801EE0342}" dt="2023-12-11T13:09:46.184" v="7950" actId="478"/>
          <ac:picMkLst>
            <pc:docMk/>
            <pc:sldMk cId="304592153" sldId="321"/>
            <ac:picMk id="14" creationId="{D083DF6C-C39B-F1FC-A84B-0E3E4CA6EDB7}"/>
          </ac:picMkLst>
        </pc:picChg>
        <pc:picChg chg="add mod modCrop">
          <ac:chgData name="Pierre CHAVANNE" userId="2e2e2412-eb49-4787-bd3d-d17adeb25e11" providerId="ADAL" clId="{8E769656-82DF-4740-BA14-9D4801EE0342}" dt="2023-12-11T14:49:35.840" v="10505" actId="1036"/>
          <ac:picMkLst>
            <pc:docMk/>
            <pc:sldMk cId="304592153" sldId="321"/>
            <ac:picMk id="15" creationId="{EDEC33E9-EA1A-A504-03ED-45381AF6C460}"/>
          </ac:picMkLst>
        </pc:picChg>
        <pc:picChg chg="add mod">
          <ac:chgData name="Pierre CHAVANNE" userId="2e2e2412-eb49-4787-bd3d-d17adeb25e11" providerId="ADAL" clId="{8E769656-82DF-4740-BA14-9D4801EE0342}" dt="2023-12-11T14:49:33.363" v="10491" actId="1035"/>
          <ac:picMkLst>
            <pc:docMk/>
            <pc:sldMk cId="304592153" sldId="321"/>
            <ac:picMk id="1026" creationId="{D3FA8822-7191-E03C-91E5-8AC91E125462}"/>
          </ac:picMkLst>
        </pc:picChg>
        <pc:cxnChg chg="add del mod">
          <ac:chgData name="Pierre CHAVANNE" userId="2e2e2412-eb49-4787-bd3d-d17adeb25e11" providerId="ADAL" clId="{8E769656-82DF-4740-BA14-9D4801EE0342}" dt="2023-12-11T13:43:12.285" v="9018" actId="478"/>
          <ac:cxnSpMkLst>
            <pc:docMk/>
            <pc:sldMk cId="304592153" sldId="321"/>
            <ac:cxnSpMk id="9" creationId="{1AFCD8C7-02BD-2D4D-E6AE-A826B16B7046}"/>
          </ac:cxnSpMkLst>
        </pc:cxnChg>
        <pc:cxnChg chg="add del mod">
          <ac:chgData name="Pierre CHAVANNE" userId="2e2e2412-eb49-4787-bd3d-d17adeb25e11" providerId="ADAL" clId="{8E769656-82DF-4740-BA14-9D4801EE0342}" dt="2023-12-11T13:43:12.285" v="9018" actId="478"/>
          <ac:cxnSpMkLst>
            <pc:docMk/>
            <pc:sldMk cId="304592153" sldId="321"/>
            <ac:cxnSpMk id="11" creationId="{1124109C-1453-DB15-2851-E5A148558A2F}"/>
          </ac:cxnSpMkLst>
        </pc:cxnChg>
        <pc:cxnChg chg="add del mod">
          <ac:chgData name="Pierre CHAVANNE" userId="2e2e2412-eb49-4787-bd3d-d17adeb25e11" providerId="ADAL" clId="{8E769656-82DF-4740-BA14-9D4801EE0342}" dt="2023-12-11T14:13:18.490" v="9556" actId="478"/>
          <ac:cxnSpMkLst>
            <pc:docMk/>
            <pc:sldMk cId="304592153" sldId="321"/>
            <ac:cxnSpMk id="16" creationId="{EB1E1D69-163F-12B8-B629-B5BB0A22A4D2}"/>
          </ac:cxnSpMkLst>
        </pc:cxnChg>
        <pc:cxnChg chg="add del mod">
          <ac:chgData name="Pierre CHAVANNE" userId="2e2e2412-eb49-4787-bd3d-d17adeb25e11" providerId="ADAL" clId="{8E769656-82DF-4740-BA14-9D4801EE0342}" dt="2023-12-11T14:13:19.110" v="9557" actId="478"/>
          <ac:cxnSpMkLst>
            <pc:docMk/>
            <pc:sldMk cId="304592153" sldId="321"/>
            <ac:cxnSpMk id="17" creationId="{1BBE83E3-608F-E630-FD35-F67833891855}"/>
          </ac:cxnSpMkLst>
        </pc:cxnChg>
        <pc:cxnChg chg="add del mod">
          <ac:chgData name="Pierre CHAVANNE" userId="2e2e2412-eb49-4787-bd3d-d17adeb25e11" providerId="ADAL" clId="{8E769656-82DF-4740-BA14-9D4801EE0342}" dt="2023-12-11T14:49:38.568" v="10506" actId="478"/>
          <ac:cxnSpMkLst>
            <pc:docMk/>
            <pc:sldMk cId="304592153" sldId="321"/>
            <ac:cxnSpMk id="18" creationId="{172A9571-EE23-7750-1F7B-65F9F918E248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4:49:49.356" v="10529" actId="478"/>
        <pc:sldMkLst>
          <pc:docMk/>
          <pc:sldMk cId="219234302" sldId="322"/>
        </pc:sldMkLst>
        <pc:spChg chg="mod">
          <ac:chgData name="Pierre CHAVANNE" userId="2e2e2412-eb49-4787-bd3d-d17adeb25e11" providerId="ADAL" clId="{8E769656-82DF-4740-BA14-9D4801EE0342}" dt="2023-12-11T13:18:28.206" v="8282" actId="6549"/>
          <ac:spMkLst>
            <pc:docMk/>
            <pc:sldMk cId="219234302" sldId="322"/>
            <ac:spMk id="7" creationId="{6AD4CBD7-D9A7-169D-4153-387F366F0D29}"/>
          </ac:spMkLst>
        </pc:spChg>
        <pc:spChg chg="mod">
          <ac:chgData name="Pierre CHAVANNE" userId="2e2e2412-eb49-4787-bd3d-d17adeb25e11" providerId="ADAL" clId="{8E769656-82DF-4740-BA14-9D4801EE0342}" dt="2023-12-11T13:21:08.752" v="8434" actId="20577"/>
          <ac:spMkLst>
            <pc:docMk/>
            <pc:sldMk cId="219234302" sldId="322"/>
            <ac:spMk id="10" creationId="{18B9EFBA-7F92-0321-957B-DC732358BF5F}"/>
          </ac:spMkLst>
        </pc:spChg>
        <pc:picChg chg="del">
          <ac:chgData name="Pierre CHAVANNE" userId="2e2e2412-eb49-4787-bd3d-d17adeb25e11" providerId="ADAL" clId="{8E769656-82DF-4740-BA14-9D4801EE0342}" dt="2023-12-11T13:18:13.547" v="8252" actId="478"/>
          <ac:picMkLst>
            <pc:docMk/>
            <pc:sldMk cId="219234302" sldId="322"/>
            <ac:picMk id="3" creationId="{1B8F65D6-0752-5374-500F-313376E49C36}"/>
          </ac:picMkLst>
        </pc:picChg>
        <pc:picChg chg="add mod">
          <ac:chgData name="Pierre CHAVANNE" userId="2e2e2412-eb49-4787-bd3d-d17adeb25e11" providerId="ADAL" clId="{8E769656-82DF-4740-BA14-9D4801EE0342}" dt="2023-12-11T14:12:46.017" v="9542" actId="1037"/>
          <ac:picMkLst>
            <pc:docMk/>
            <pc:sldMk cId="219234302" sldId="322"/>
            <ac:picMk id="4" creationId="{6B62D3AD-8C0E-3292-27E8-9456E0AEEDD3}"/>
          </ac:picMkLst>
        </pc:picChg>
        <pc:picChg chg="del">
          <ac:chgData name="Pierre CHAVANNE" userId="2e2e2412-eb49-4787-bd3d-d17adeb25e11" providerId="ADAL" clId="{8E769656-82DF-4740-BA14-9D4801EE0342}" dt="2023-12-11T13:18:12.246" v="8251" actId="478"/>
          <ac:picMkLst>
            <pc:docMk/>
            <pc:sldMk cId="219234302" sldId="322"/>
            <ac:picMk id="5" creationId="{1990583C-2D3F-7177-4AEE-EF71E27F6D8B}"/>
          </ac:picMkLst>
        </pc:picChg>
        <pc:picChg chg="add del mod">
          <ac:chgData name="Pierre CHAVANNE" userId="2e2e2412-eb49-4787-bd3d-d17adeb25e11" providerId="ADAL" clId="{8E769656-82DF-4740-BA14-9D4801EE0342}" dt="2023-12-11T14:02:53.656" v="9400" actId="478"/>
          <ac:picMkLst>
            <pc:docMk/>
            <pc:sldMk cId="219234302" sldId="322"/>
            <ac:picMk id="9" creationId="{C1846B49-DB5B-4C2F-10BC-FB611F164486}"/>
          </ac:picMkLst>
        </pc:picChg>
        <pc:picChg chg="add mod">
          <ac:chgData name="Pierre CHAVANNE" userId="2e2e2412-eb49-4787-bd3d-d17adeb25e11" providerId="ADAL" clId="{8E769656-82DF-4740-BA14-9D4801EE0342}" dt="2023-12-11T14:49:46.127" v="10528" actId="1036"/>
          <ac:picMkLst>
            <pc:docMk/>
            <pc:sldMk cId="219234302" sldId="322"/>
            <ac:picMk id="14" creationId="{5D3598EF-4492-36F9-18FA-4C12D0C1B831}"/>
          </ac:picMkLst>
        </pc:picChg>
        <pc:picChg chg="del">
          <ac:chgData name="Pierre CHAVANNE" userId="2e2e2412-eb49-4787-bd3d-d17adeb25e11" providerId="ADAL" clId="{8E769656-82DF-4740-BA14-9D4801EE0342}" dt="2023-12-11T13:18:11.812" v="8250" actId="478"/>
          <ac:picMkLst>
            <pc:docMk/>
            <pc:sldMk cId="219234302" sldId="322"/>
            <ac:picMk id="1026" creationId="{D3FA8822-7191-E03C-91E5-8AC91E125462}"/>
          </ac:picMkLst>
        </pc:picChg>
        <pc:picChg chg="add mod">
          <ac:chgData name="Pierre CHAVANNE" userId="2e2e2412-eb49-4787-bd3d-d17adeb25e11" providerId="ADAL" clId="{8E769656-82DF-4740-BA14-9D4801EE0342}" dt="2023-12-11T14:49:42.499" v="10511" actId="1036"/>
          <ac:picMkLst>
            <pc:docMk/>
            <pc:sldMk cId="219234302" sldId="322"/>
            <ac:picMk id="2050" creationId="{7042412F-3F27-9613-B324-4D50E6A5654E}"/>
          </ac:picMkLst>
        </pc:picChg>
        <pc:cxnChg chg="add del mod">
          <ac:chgData name="Pierre CHAVANNE" userId="2e2e2412-eb49-4787-bd3d-d17adeb25e11" providerId="ADAL" clId="{8E769656-82DF-4740-BA14-9D4801EE0342}" dt="2023-12-11T13:43:28.787" v="9023" actId="478"/>
          <ac:cxnSpMkLst>
            <pc:docMk/>
            <pc:sldMk cId="219234302" sldId="322"/>
            <ac:cxnSpMk id="11" creationId="{94E5853D-A101-5BEB-FC9C-986C89AF595E}"/>
          </ac:cxnSpMkLst>
        </pc:cxnChg>
        <pc:cxnChg chg="add del mod">
          <ac:chgData name="Pierre CHAVANNE" userId="2e2e2412-eb49-4787-bd3d-d17adeb25e11" providerId="ADAL" clId="{8E769656-82DF-4740-BA14-9D4801EE0342}" dt="2023-12-11T13:43:28.787" v="9023" actId="478"/>
          <ac:cxnSpMkLst>
            <pc:docMk/>
            <pc:sldMk cId="219234302" sldId="322"/>
            <ac:cxnSpMk id="12" creationId="{4CAAC42A-A96B-7495-50E9-98B28EF259E9}"/>
          </ac:cxnSpMkLst>
        </pc:cxnChg>
        <pc:cxnChg chg="add del mod">
          <ac:chgData name="Pierre CHAVANNE" userId="2e2e2412-eb49-4787-bd3d-d17adeb25e11" providerId="ADAL" clId="{8E769656-82DF-4740-BA14-9D4801EE0342}" dt="2023-12-11T14:13:20.414" v="9558" actId="478"/>
          <ac:cxnSpMkLst>
            <pc:docMk/>
            <pc:sldMk cId="219234302" sldId="322"/>
            <ac:cxnSpMk id="15" creationId="{6D134BF0-1AF1-6E76-80D7-99075D59EF19}"/>
          </ac:cxnSpMkLst>
        </pc:cxnChg>
        <pc:cxnChg chg="add del mod">
          <ac:chgData name="Pierre CHAVANNE" userId="2e2e2412-eb49-4787-bd3d-d17adeb25e11" providerId="ADAL" clId="{8E769656-82DF-4740-BA14-9D4801EE0342}" dt="2023-12-11T14:13:21.294" v="9559" actId="478"/>
          <ac:cxnSpMkLst>
            <pc:docMk/>
            <pc:sldMk cId="219234302" sldId="322"/>
            <ac:cxnSpMk id="16" creationId="{036BB01D-24DB-7E78-144B-B5E73B7B376C}"/>
          </ac:cxnSpMkLst>
        </pc:cxnChg>
        <pc:cxnChg chg="add del mod">
          <ac:chgData name="Pierre CHAVANNE" userId="2e2e2412-eb49-4787-bd3d-d17adeb25e11" providerId="ADAL" clId="{8E769656-82DF-4740-BA14-9D4801EE0342}" dt="2023-12-11T14:49:49.356" v="10529" actId="478"/>
          <ac:cxnSpMkLst>
            <pc:docMk/>
            <pc:sldMk cId="219234302" sldId="322"/>
            <ac:cxnSpMk id="17" creationId="{9C1B19AB-D8A6-8A39-F7E5-804AE6D4C03F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4:50:05.610" v="10567" actId="478"/>
        <pc:sldMkLst>
          <pc:docMk/>
          <pc:sldMk cId="2955322825" sldId="323"/>
        </pc:sldMkLst>
        <pc:spChg chg="mod">
          <ac:chgData name="Pierre CHAVANNE" userId="2e2e2412-eb49-4787-bd3d-d17adeb25e11" providerId="ADAL" clId="{8E769656-82DF-4740-BA14-9D4801EE0342}" dt="2023-12-11T13:27:03.198" v="8735" actId="20577"/>
          <ac:spMkLst>
            <pc:docMk/>
            <pc:sldMk cId="2955322825" sldId="323"/>
            <ac:spMk id="7" creationId="{6AD4CBD7-D9A7-169D-4153-387F366F0D29}"/>
          </ac:spMkLst>
        </pc:spChg>
        <pc:spChg chg="mod">
          <ac:chgData name="Pierre CHAVANNE" userId="2e2e2412-eb49-4787-bd3d-d17adeb25e11" providerId="ADAL" clId="{8E769656-82DF-4740-BA14-9D4801EE0342}" dt="2023-12-11T13:29:06.592" v="8853" actId="20577"/>
          <ac:spMkLst>
            <pc:docMk/>
            <pc:sldMk cId="2955322825" sldId="323"/>
            <ac:spMk id="14" creationId="{244A11D9-903C-063B-57C5-F8DBD33A487B}"/>
          </ac:spMkLst>
        </pc:spChg>
        <pc:picChg chg="del">
          <ac:chgData name="Pierre CHAVANNE" userId="2e2e2412-eb49-4787-bd3d-d17adeb25e11" providerId="ADAL" clId="{8E769656-82DF-4740-BA14-9D4801EE0342}" dt="2023-12-11T13:29:18.720" v="8854" actId="478"/>
          <ac:picMkLst>
            <pc:docMk/>
            <pc:sldMk cId="2955322825" sldId="323"/>
            <ac:picMk id="3" creationId="{115FE826-D431-B526-7FB9-25C8F9B80A93}"/>
          </ac:picMkLst>
        </pc:picChg>
        <pc:picChg chg="add del mod">
          <ac:chgData name="Pierre CHAVANNE" userId="2e2e2412-eb49-4787-bd3d-d17adeb25e11" providerId="ADAL" clId="{8E769656-82DF-4740-BA14-9D4801EE0342}" dt="2023-12-11T14:09:57.824" v="9465" actId="478"/>
          <ac:picMkLst>
            <pc:docMk/>
            <pc:sldMk cId="2955322825" sldId="323"/>
            <ac:picMk id="5" creationId="{CF06AE58-7BDB-04F6-85F0-AD7EE867AE16}"/>
          </ac:picMkLst>
        </pc:picChg>
        <pc:picChg chg="add mod modCrop">
          <ac:chgData name="Pierre CHAVANNE" userId="2e2e2412-eb49-4787-bd3d-d17adeb25e11" providerId="ADAL" clId="{8E769656-82DF-4740-BA14-9D4801EE0342}" dt="2023-12-11T14:13:39.195" v="9560" actId="1076"/>
          <ac:picMkLst>
            <pc:docMk/>
            <pc:sldMk cId="2955322825" sldId="323"/>
            <ac:picMk id="9" creationId="{9FA7E6B1-C8FE-A349-13AA-E9E3BD0A75E4}"/>
          </ac:picMkLst>
        </pc:picChg>
        <pc:picChg chg="add mod">
          <ac:chgData name="Pierre CHAVANNE" userId="2e2e2412-eb49-4787-bd3d-d17adeb25e11" providerId="ADAL" clId="{8E769656-82DF-4740-BA14-9D4801EE0342}" dt="2023-12-11T14:50:02.562" v="10566" actId="1036"/>
          <ac:picMkLst>
            <pc:docMk/>
            <pc:sldMk cId="2955322825" sldId="323"/>
            <ac:picMk id="13" creationId="{CA572920-80AF-B899-1A38-D588E6A910CE}"/>
          </ac:picMkLst>
        </pc:picChg>
        <pc:picChg chg="del">
          <ac:chgData name="Pierre CHAVANNE" userId="2e2e2412-eb49-4787-bd3d-d17adeb25e11" providerId="ADAL" clId="{8E769656-82DF-4740-BA14-9D4801EE0342}" dt="2023-12-11T13:27:08.777" v="8737" actId="478"/>
          <ac:picMkLst>
            <pc:docMk/>
            <pc:sldMk cId="2955322825" sldId="323"/>
            <ac:picMk id="16" creationId="{40BFAEAC-0EE2-B8FF-03E4-F99F7E2FCF67}"/>
          </ac:picMkLst>
        </pc:picChg>
        <pc:picChg chg="del">
          <ac:chgData name="Pierre CHAVANNE" userId="2e2e2412-eb49-4787-bd3d-d17adeb25e11" providerId="ADAL" clId="{8E769656-82DF-4740-BA14-9D4801EE0342}" dt="2023-12-11T13:27:08.415" v="8736" actId="478"/>
          <ac:picMkLst>
            <pc:docMk/>
            <pc:sldMk cId="2955322825" sldId="323"/>
            <ac:picMk id="3074" creationId="{0E49D444-10C0-572B-FCCA-2680B1B8C583}"/>
          </ac:picMkLst>
        </pc:picChg>
        <pc:picChg chg="add mod">
          <ac:chgData name="Pierre CHAVANNE" userId="2e2e2412-eb49-4787-bd3d-d17adeb25e11" providerId="ADAL" clId="{8E769656-82DF-4740-BA14-9D4801EE0342}" dt="2023-12-11T14:49:59.866" v="10552" actId="1035"/>
          <ac:picMkLst>
            <pc:docMk/>
            <pc:sldMk cId="2955322825" sldId="323"/>
            <ac:picMk id="4098" creationId="{7A66E031-7D5B-D473-0EF5-283D60DDCF08}"/>
          </ac:picMkLst>
        </pc:picChg>
        <pc:cxnChg chg="add del mod">
          <ac:chgData name="Pierre CHAVANNE" userId="2e2e2412-eb49-4787-bd3d-d17adeb25e11" providerId="ADAL" clId="{8E769656-82DF-4740-BA14-9D4801EE0342}" dt="2023-12-11T13:43:59.695" v="9031" actId="478"/>
          <ac:cxnSpMkLst>
            <pc:docMk/>
            <pc:sldMk cId="2955322825" sldId="323"/>
            <ac:cxnSpMk id="10" creationId="{BF746124-F2D7-080A-C96D-BB96668AD606}"/>
          </ac:cxnSpMkLst>
        </pc:cxnChg>
        <pc:cxnChg chg="add del mod">
          <ac:chgData name="Pierre CHAVANNE" userId="2e2e2412-eb49-4787-bd3d-d17adeb25e11" providerId="ADAL" clId="{8E769656-82DF-4740-BA14-9D4801EE0342}" dt="2023-12-11T13:43:59.695" v="9031" actId="478"/>
          <ac:cxnSpMkLst>
            <pc:docMk/>
            <pc:sldMk cId="2955322825" sldId="323"/>
            <ac:cxnSpMk id="11" creationId="{7FDD40A6-ADDD-BFE3-B162-72A0A2BAA592}"/>
          </ac:cxnSpMkLst>
        </pc:cxnChg>
        <pc:cxnChg chg="add del mod">
          <ac:chgData name="Pierre CHAVANNE" userId="2e2e2412-eb49-4787-bd3d-d17adeb25e11" providerId="ADAL" clId="{8E769656-82DF-4740-BA14-9D4801EE0342}" dt="2023-12-11T14:50:05.610" v="10567" actId="478"/>
          <ac:cxnSpMkLst>
            <pc:docMk/>
            <pc:sldMk cId="2955322825" sldId="323"/>
            <ac:cxnSpMk id="15" creationId="{84BB4299-D0D2-130E-F6EE-40E31D6A8F45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4:50:11.702" v="10571" actId="478"/>
        <pc:sldMkLst>
          <pc:docMk/>
          <pc:sldMk cId="3873716323" sldId="324"/>
        </pc:sldMkLst>
        <pc:spChg chg="mod">
          <ac:chgData name="Pierre CHAVANNE" userId="2e2e2412-eb49-4787-bd3d-d17adeb25e11" providerId="ADAL" clId="{8E769656-82DF-4740-BA14-9D4801EE0342}" dt="2023-12-11T13:34:00.151" v="8895" actId="20577"/>
          <ac:spMkLst>
            <pc:docMk/>
            <pc:sldMk cId="3873716323" sldId="324"/>
            <ac:spMk id="7" creationId="{6AD4CBD7-D9A7-169D-4153-387F366F0D29}"/>
          </ac:spMkLst>
        </pc:spChg>
        <pc:spChg chg="mod">
          <ac:chgData name="Pierre CHAVANNE" userId="2e2e2412-eb49-4787-bd3d-d17adeb25e11" providerId="ADAL" clId="{8E769656-82DF-4740-BA14-9D4801EE0342}" dt="2023-12-11T14:11:26.168" v="9475" actId="1076"/>
          <ac:spMkLst>
            <pc:docMk/>
            <pc:sldMk cId="3873716323" sldId="324"/>
            <ac:spMk id="14" creationId="{244A11D9-903C-063B-57C5-F8DBD33A487B}"/>
          </ac:spMkLst>
        </pc:spChg>
        <pc:picChg chg="add mod modCrop">
          <ac:chgData name="Pierre CHAVANNE" userId="2e2e2412-eb49-4787-bd3d-d17adeb25e11" providerId="ADAL" clId="{8E769656-82DF-4740-BA14-9D4801EE0342}" dt="2023-12-11T14:13:44.595" v="9561" actId="1076"/>
          <ac:picMkLst>
            <pc:docMk/>
            <pc:sldMk cId="3873716323" sldId="324"/>
            <ac:picMk id="4" creationId="{C5B160B6-5799-459A-C485-E8E1634B73FF}"/>
          </ac:picMkLst>
        </pc:picChg>
        <pc:picChg chg="del">
          <ac:chgData name="Pierre CHAVANNE" userId="2e2e2412-eb49-4787-bd3d-d17adeb25e11" providerId="ADAL" clId="{8E769656-82DF-4740-BA14-9D4801EE0342}" dt="2023-12-11T13:34:20.737" v="8923" actId="478"/>
          <ac:picMkLst>
            <pc:docMk/>
            <pc:sldMk cId="3873716323" sldId="324"/>
            <ac:picMk id="5" creationId="{CF06AE58-7BDB-04F6-85F0-AD7EE867AE16}"/>
          </ac:picMkLst>
        </pc:picChg>
        <pc:picChg chg="del">
          <ac:chgData name="Pierre CHAVANNE" userId="2e2e2412-eb49-4787-bd3d-d17adeb25e11" providerId="ADAL" clId="{8E769656-82DF-4740-BA14-9D4801EE0342}" dt="2023-12-11T13:33:10.504" v="8871" actId="478"/>
          <ac:picMkLst>
            <pc:docMk/>
            <pc:sldMk cId="3873716323" sldId="324"/>
            <ac:picMk id="9" creationId="{9FA7E6B1-C8FE-A349-13AA-E9E3BD0A75E4}"/>
          </ac:picMkLst>
        </pc:picChg>
        <pc:picChg chg="add del mod">
          <ac:chgData name="Pierre CHAVANNE" userId="2e2e2412-eb49-4787-bd3d-d17adeb25e11" providerId="ADAL" clId="{8E769656-82DF-4740-BA14-9D4801EE0342}" dt="2023-12-11T14:10:26.097" v="9470" actId="478"/>
          <ac:picMkLst>
            <pc:docMk/>
            <pc:sldMk cId="3873716323" sldId="324"/>
            <ac:picMk id="10" creationId="{DCB2C83C-513C-23F5-AA9C-F818DA925332}"/>
          </ac:picMkLst>
        </pc:picChg>
        <pc:picChg chg="add mod">
          <ac:chgData name="Pierre CHAVANNE" userId="2e2e2412-eb49-4787-bd3d-d17adeb25e11" providerId="ADAL" clId="{8E769656-82DF-4740-BA14-9D4801EE0342}" dt="2023-12-11T14:50:09.317" v="10570" actId="1036"/>
          <ac:picMkLst>
            <pc:docMk/>
            <pc:sldMk cId="3873716323" sldId="324"/>
            <ac:picMk id="15" creationId="{992DF3F5-43D4-5C5F-67BA-17710507968F}"/>
          </ac:picMkLst>
        </pc:picChg>
        <pc:picChg chg="del">
          <ac:chgData name="Pierre CHAVANNE" userId="2e2e2412-eb49-4787-bd3d-d17adeb25e11" providerId="ADAL" clId="{8E769656-82DF-4740-BA14-9D4801EE0342}" dt="2023-12-11T13:34:20.427" v="8922" actId="478"/>
          <ac:picMkLst>
            <pc:docMk/>
            <pc:sldMk cId="3873716323" sldId="324"/>
            <ac:picMk id="4098" creationId="{7A66E031-7D5B-D473-0EF5-283D60DDCF08}"/>
          </ac:picMkLst>
        </pc:picChg>
        <pc:picChg chg="add mod">
          <ac:chgData name="Pierre CHAVANNE" userId="2e2e2412-eb49-4787-bd3d-d17adeb25e11" providerId="ADAL" clId="{8E769656-82DF-4740-BA14-9D4801EE0342}" dt="2023-12-11T14:11:18.576" v="9474" actId="1076"/>
          <ac:picMkLst>
            <pc:docMk/>
            <pc:sldMk cId="3873716323" sldId="324"/>
            <ac:picMk id="5122" creationId="{A4A098EA-ACDD-EE1F-9DB4-A7070D6B4151}"/>
          </ac:picMkLst>
        </pc:picChg>
        <pc:cxnChg chg="add del mod">
          <ac:chgData name="Pierre CHAVANNE" userId="2e2e2412-eb49-4787-bd3d-d17adeb25e11" providerId="ADAL" clId="{8E769656-82DF-4740-BA14-9D4801EE0342}" dt="2023-12-11T13:44:15.055" v="9037" actId="478"/>
          <ac:cxnSpMkLst>
            <pc:docMk/>
            <pc:sldMk cId="3873716323" sldId="324"/>
            <ac:cxnSpMk id="11" creationId="{A847A887-2618-D7C7-75D9-6CBA0D8F92E7}"/>
          </ac:cxnSpMkLst>
        </pc:cxnChg>
        <pc:cxnChg chg="add del mod">
          <ac:chgData name="Pierre CHAVANNE" userId="2e2e2412-eb49-4787-bd3d-d17adeb25e11" providerId="ADAL" clId="{8E769656-82DF-4740-BA14-9D4801EE0342}" dt="2023-12-11T13:44:15.055" v="9037" actId="478"/>
          <ac:cxnSpMkLst>
            <pc:docMk/>
            <pc:sldMk cId="3873716323" sldId="324"/>
            <ac:cxnSpMk id="12" creationId="{B277477C-7F36-CC6A-D1CF-42850DDE3759}"/>
          </ac:cxnSpMkLst>
        </pc:cxnChg>
        <pc:cxnChg chg="add del mod">
          <ac:chgData name="Pierre CHAVANNE" userId="2e2e2412-eb49-4787-bd3d-d17adeb25e11" providerId="ADAL" clId="{8E769656-82DF-4740-BA14-9D4801EE0342}" dt="2023-12-11T14:48:55.123" v="10412" actId="478"/>
          <ac:cxnSpMkLst>
            <pc:docMk/>
            <pc:sldMk cId="3873716323" sldId="324"/>
            <ac:cxnSpMk id="17" creationId="{FBBD5341-00ED-A3EE-023D-A5F9866DC6D3}"/>
          </ac:cxnSpMkLst>
        </pc:cxnChg>
        <pc:cxnChg chg="add del mod">
          <ac:chgData name="Pierre CHAVANNE" userId="2e2e2412-eb49-4787-bd3d-d17adeb25e11" providerId="ADAL" clId="{8E769656-82DF-4740-BA14-9D4801EE0342}" dt="2023-12-11T14:50:11.702" v="10571" actId="478"/>
          <ac:cxnSpMkLst>
            <pc:docMk/>
            <pc:sldMk cId="3873716323" sldId="324"/>
            <ac:cxnSpMk id="20" creationId="{67CA9E59-53E7-0DF5-F39D-2F79A48ADFED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4:49:10.644" v="10441" actId="478"/>
        <pc:sldMkLst>
          <pc:docMk/>
          <pc:sldMk cId="2450472586" sldId="325"/>
        </pc:sldMkLst>
        <pc:picChg chg="add del mod">
          <ac:chgData name="Pierre CHAVANNE" userId="2e2e2412-eb49-4787-bd3d-d17adeb25e11" providerId="ADAL" clId="{8E769656-82DF-4740-BA14-9D4801EE0342}" dt="2023-12-11T13:56:32.449" v="9347" actId="478"/>
          <ac:picMkLst>
            <pc:docMk/>
            <pc:sldMk cId="2450472586" sldId="325"/>
            <ac:picMk id="4" creationId="{CE834824-4F93-D0DA-C6B6-3781161D4F91}"/>
          </ac:picMkLst>
        </pc:picChg>
        <pc:picChg chg="add mod modCrop">
          <ac:chgData name="Pierre CHAVANNE" userId="2e2e2412-eb49-4787-bd3d-d17adeb25e11" providerId="ADAL" clId="{8E769656-82DF-4740-BA14-9D4801EE0342}" dt="2023-12-11T14:49:07.315" v="10440" actId="1035"/>
          <ac:picMkLst>
            <pc:docMk/>
            <pc:sldMk cId="2450472586" sldId="325"/>
            <ac:picMk id="8" creationId="{1EDB6D1B-5227-53F7-E457-44EBB3A7A974}"/>
          </ac:picMkLst>
        </pc:picChg>
        <pc:picChg chg="mod">
          <ac:chgData name="Pierre CHAVANNE" userId="2e2e2412-eb49-4787-bd3d-d17adeb25e11" providerId="ADAL" clId="{8E769656-82DF-4740-BA14-9D4801EE0342}" dt="2023-12-11T14:12:11.890" v="9484" actId="1076"/>
          <ac:picMkLst>
            <pc:docMk/>
            <pc:sldMk cId="2450472586" sldId="325"/>
            <ac:picMk id="12" creationId="{7F166E49-5E44-F0C3-B77D-C8572D9F996B}"/>
          </ac:picMkLst>
        </pc:picChg>
        <pc:picChg chg="mod">
          <ac:chgData name="Pierre CHAVANNE" userId="2e2e2412-eb49-4787-bd3d-d17adeb25e11" providerId="ADAL" clId="{8E769656-82DF-4740-BA14-9D4801EE0342}" dt="2023-12-11T14:49:03.097" v="10419" actId="1036"/>
          <ac:picMkLst>
            <pc:docMk/>
            <pc:sldMk cId="2450472586" sldId="325"/>
            <ac:picMk id="20" creationId="{17F72769-34E8-32BA-AADE-A7AE015C71F6}"/>
          </ac:picMkLst>
        </pc:picChg>
        <pc:picChg chg="del">
          <ac:chgData name="Pierre CHAVANNE" userId="2e2e2412-eb49-4787-bd3d-d17adeb25e11" providerId="ADAL" clId="{8E769656-82DF-4740-BA14-9D4801EE0342}" dt="2023-12-11T13:53:34.609" v="9340" actId="478"/>
          <ac:picMkLst>
            <pc:docMk/>
            <pc:sldMk cId="2450472586" sldId="325"/>
            <ac:picMk id="32" creationId="{5703B5C9-90D3-7DF5-05A6-3997ED5F26FE}"/>
          </ac:picMkLst>
        </pc:picChg>
        <pc:cxnChg chg="add del mod">
          <ac:chgData name="Pierre CHAVANNE" userId="2e2e2412-eb49-4787-bd3d-d17adeb25e11" providerId="ADAL" clId="{8E769656-82DF-4740-BA14-9D4801EE0342}" dt="2023-12-11T14:13:12.296" v="9551" actId="478"/>
          <ac:cxnSpMkLst>
            <pc:docMk/>
            <pc:sldMk cId="2450472586" sldId="325"/>
            <ac:cxnSpMk id="11" creationId="{310B6B49-CC79-FCAA-FDF5-04B64A958B26}"/>
          </ac:cxnSpMkLst>
        </pc:cxnChg>
        <pc:cxnChg chg="add del mod">
          <ac:chgData name="Pierre CHAVANNE" userId="2e2e2412-eb49-4787-bd3d-d17adeb25e11" providerId="ADAL" clId="{8E769656-82DF-4740-BA14-9D4801EE0342}" dt="2023-12-11T14:13:11.550" v="9550" actId="478"/>
          <ac:cxnSpMkLst>
            <pc:docMk/>
            <pc:sldMk cId="2450472586" sldId="325"/>
            <ac:cxnSpMk id="13" creationId="{B0F8C795-D8A0-A159-0B67-53FA0F7E4E29}"/>
          </ac:cxnSpMkLst>
        </pc:cxnChg>
        <pc:cxnChg chg="add del mod">
          <ac:chgData name="Pierre CHAVANNE" userId="2e2e2412-eb49-4787-bd3d-d17adeb25e11" providerId="ADAL" clId="{8E769656-82DF-4740-BA14-9D4801EE0342}" dt="2023-12-11T14:49:10.644" v="10441" actId="478"/>
          <ac:cxnSpMkLst>
            <pc:docMk/>
            <pc:sldMk cId="2450472586" sldId="325"/>
            <ac:cxnSpMk id="16" creationId="{6388748B-D2B5-34F9-79C0-D5D2DBA268C3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4:32:55.191" v="10078" actId="20577"/>
        <pc:sldMkLst>
          <pc:docMk/>
          <pc:sldMk cId="2789460190" sldId="326"/>
        </pc:sldMkLst>
        <pc:spChg chg="mod">
          <ac:chgData name="Pierre CHAVANNE" userId="2e2e2412-eb49-4787-bd3d-d17adeb25e11" providerId="ADAL" clId="{8E769656-82DF-4740-BA14-9D4801EE0342}" dt="2023-12-11T14:32:40.182" v="10062" actId="20577"/>
          <ac:spMkLst>
            <pc:docMk/>
            <pc:sldMk cId="2789460190" sldId="326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4:23:57.131" v="9659" actId="14100"/>
          <ac:spMkLst>
            <pc:docMk/>
            <pc:sldMk cId="2789460190" sldId="326"/>
            <ac:spMk id="9" creationId="{2FA19DED-FC42-5C03-5A67-076E5E493EC6}"/>
          </ac:spMkLst>
        </pc:spChg>
        <pc:spChg chg="mod">
          <ac:chgData name="Pierre CHAVANNE" userId="2e2e2412-eb49-4787-bd3d-d17adeb25e11" providerId="ADAL" clId="{8E769656-82DF-4740-BA14-9D4801EE0342}" dt="2023-12-11T14:32:55.191" v="10078" actId="20577"/>
          <ac:spMkLst>
            <pc:docMk/>
            <pc:sldMk cId="2789460190" sldId="326"/>
            <ac:spMk id="10" creationId="{18B9EFBA-7F92-0321-957B-DC732358BF5F}"/>
          </ac:spMkLst>
        </pc:spChg>
        <pc:picChg chg="del">
          <ac:chgData name="Pierre CHAVANNE" userId="2e2e2412-eb49-4787-bd3d-d17adeb25e11" providerId="ADAL" clId="{8E769656-82DF-4740-BA14-9D4801EE0342}" dt="2023-12-11T14:15:25.628" v="9563" actId="478"/>
          <ac:picMkLst>
            <pc:docMk/>
            <pc:sldMk cId="2789460190" sldId="326"/>
            <ac:picMk id="14" creationId="{138E1A5E-0028-327D-37F4-751A057584F4}"/>
          </ac:picMkLst>
        </pc:picChg>
        <pc:picChg chg="add mod">
          <ac:chgData name="Pierre CHAVANNE" userId="2e2e2412-eb49-4787-bd3d-d17adeb25e11" providerId="ADAL" clId="{8E769656-82DF-4740-BA14-9D4801EE0342}" dt="2023-12-11T14:21:03.819" v="9569" actId="1076"/>
          <ac:picMkLst>
            <pc:docMk/>
            <pc:sldMk cId="2789460190" sldId="326"/>
            <ac:picMk id="6146" creationId="{2B717E00-1998-B281-A759-10557560963F}"/>
          </ac:picMkLst>
        </pc:picChg>
      </pc:sldChg>
      <pc:sldChg chg="addSp delSp modSp add mod">
        <pc:chgData name="Pierre CHAVANNE" userId="2e2e2412-eb49-4787-bd3d-d17adeb25e11" providerId="ADAL" clId="{8E769656-82DF-4740-BA14-9D4801EE0342}" dt="2023-12-11T14:23:51.696" v="9658" actId="1076"/>
        <pc:sldMkLst>
          <pc:docMk/>
          <pc:sldMk cId="651240368" sldId="327"/>
        </pc:sldMkLst>
        <pc:picChg chg="del">
          <ac:chgData name="Pierre CHAVANNE" userId="2e2e2412-eb49-4787-bd3d-d17adeb25e11" providerId="ADAL" clId="{8E769656-82DF-4740-BA14-9D4801EE0342}" dt="2023-12-11T14:23:42.822" v="9655" actId="478"/>
          <ac:picMkLst>
            <pc:docMk/>
            <pc:sldMk cId="651240368" sldId="327"/>
            <ac:picMk id="17" creationId="{494E7569-F3FE-A823-D35D-D0088F7F9B66}"/>
          </ac:picMkLst>
        </pc:picChg>
        <pc:picChg chg="add mod">
          <ac:chgData name="Pierre CHAVANNE" userId="2e2e2412-eb49-4787-bd3d-d17adeb25e11" providerId="ADAL" clId="{8E769656-82DF-4740-BA14-9D4801EE0342}" dt="2023-12-11T14:23:51.696" v="9658" actId="1076"/>
          <ac:picMkLst>
            <pc:docMk/>
            <pc:sldMk cId="651240368" sldId="327"/>
            <ac:picMk id="12290" creationId="{EC29CE1D-0408-7308-FDE1-724657B4CCE2}"/>
          </ac:picMkLst>
        </pc:picChg>
      </pc:sldChg>
      <pc:sldChg chg="addSp delSp modSp add mod">
        <pc:chgData name="Pierre CHAVANNE" userId="2e2e2412-eb49-4787-bd3d-d17adeb25e11" providerId="ADAL" clId="{8E769656-82DF-4740-BA14-9D4801EE0342}" dt="2023-12-11T14:33:02.483" v="10084" actId="20577"/>
        <pc:sldMkLst>
          <pc:docMk/>
          <pc:sldMk cId="4050209955" sldId="328"/>
        </pc:sldMkLst>
        <pc:spChg chg="mod">
          <ac:chgData name="Pierre CHAVANNE" userId="2e2e2412-eb49-4787-bd3d-d17adeb25e11" providerId="ADAL" clId="{8E769656-82DF-4740-BA14-9D4801EE0342}" dt="2023-12-11T14:33:02.483" v="10084" actId="20577"/>
          <ac:spMkLst>
            <pc:docMk/>
            <pc:sldMk cId="4050209955" sldId="328"/>
            <ac:spMk id="2" creationId="{E52B8373-62D1-544B-7A5C-41B622D6A38F}"/>
          </ac:spMkLst>
        </pc:spChg>
        <pc:picChg chg="del">
          <ac:chgData name="Pierre CHAVANNE" userId="2e2e2412-eb49-4787-bd3d-d17adeb25e11" providerId="ADAL" clId="{8E769656-82DF-4740-BA14-9D4801EE0342}" dt="2023-12-11T14:25:36.553" v="9943" actId="478"/>
          <ac:picMkLst>
            <pc:docMk/>
            <pc:sldMk cId="4050209955" sldId="328"/>
            <ac:picMk id="13" creationId="{63C19E91-09B4-A523-1D6E-B36372117003}"/>
          </ac:picMkLst>
        </pc:picChg>
        <pc:picChg chg="add mod">
          <ac:chgData name="Pierre CHAVANNE" userId="2e2e2412-eb49-4787-bd3d-d17adeb25e11" providerId="ADAL" clId="{8E769656-82DF-4740-BA14-9D4801EE0342}" dt="2023-12-11T14:25:48.681" v="9946" actId="1076"/>
          <ac:picMkLst>
            <pc:docMk/>
            <pc:sldMk cId="4050209955" sldId="328"/>
            <ac:picMk id="13314" creationId="{7217C424-F80A-78B0-0F18-A3345660064B}"/>
          </ac:picMkLst>
        </pc:picChg>
      </pc:sldChg>
      <pc:sldChg chg="addSp delSp modSp add mod">
        <pc:chgData name="Pierre CHAVANNE" userId="2e2e2412-eb49-4787-bd3d-d17adeb25e11" providerId="ADAL" clId="{8E769656-82DF-4740-BA14-9D4801EE0342}" dt="2023-12-11T14:33:12.335" v="10090" actId="20577"/>
        <pc:sldMkLst>
          <pc:docMk/>
          <pc:sldMk cId="1618847890" sldId="329"/>
        </pc:sldMkLst>
        <pc:spChg chg="mod">
          <ac:chgData name="Pierre CHAVANNE" userId="2e2e2412-eb49-4787-bd3d-d17adeb25e11" providerId="ADAL" clId="{8E769656-82DF-4740-BA14-9D4801EE0342}" dt="2023-12-11T14:33:12.335" v="10090" actId="20577"/>
          <ac:spMkLst>
            <pc:docMk/>
            <pc:sldMk cId="1618847890" sldId="329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4:30:21.655" v="9971" actId="20577"/>
          <ac:spMkLst>
            <pc:docMk/>
            <pc:sldMk cId="1618847890" sldId="329"/>
            <ac:spMk id="10" creationId="{18B9EFBA-7F92-0321-957B-DC732358BF5F}"/>
          </ac:spMkLst>
        </pc:spChg>
        <pc:picChg chg="del">
          <ac:chgData name="Pierre CHAVANNE" userId="2e2e2412-eb49-4787-bd3d-d17adeb25e11" providerId="ADAL" clId="{8E769656-82DF-4740-BA14-9D4801EE0342}" dt="2023-12-11T14:27:07.562" v="9947" actId="478"/>
          <ac:picMkLst>
            <pc:docMk/>
            <pc:sldMk cId="1618847890" sldId="329"/>
            <ac:picMk id="13" creationId="{DD8DFE15-0DC9-6EC2-9693-6D24F1EF3244}"/>
          </ac:picMkLst>
        </pc:picChg>
        <pc:picChg chg="add mod">
          <ac:chgData name="Pierre CHAVANNE" userId="2e2e2412-eb49-4787-bd3d-d17adeb25e11" providerId="ADAL" clId="{8E769656-82DF-4740-BA14-9D4801EE0342}" dt="2023-12-11T14:27:25.644" v="9952" actId="167"/>
          <ac:picMkLst>
            <pc:docMk/>
            <pc:sldMk cId="1618847890" sldId="329"/>
            <ac:picMk id="14338" creationId="{EF9E3EF9-4A7A-4FC9-0F9F-11D93C4981D6}"/>
          </ac:picMkLst>
        </pc:picChg>
      </pc:sldChg>
      <pc:sldChg chg="addSp delSp modSp add mod">
        <pc:chgData name="Pierre CHAVANNE" userId="2e2e2412-eb49-4787-bd3d-d17adeb25e11" providerId="ADAL" clId="{8E769656-82DF-4740-BA14-9D4801EE0342}" dt="2023-12-11T14:33:23.992" v="10102" actId="20577"/>
        <pc:sldMkLst>
          <pc:docMk/>
          <pc:sldMk cId="1072247607" sldId="330"/>
        </pc:sldMkLst>
        <pc:spChg chg="mod">
          <ac:chgData name="Pierre CHAVANNE" userId="2e2e2412-eb49-4787-bd3d-d17adeb25e11" providerId="ADAL" clId="{8E769656-82DF-4740-BA14-9D4801EE0342}" dt="2023-12-11T14:33:20.106" v="10096" actId="20577"/>
          <ac:spMkLst>
            <pc:docMk/>
            <pc:sldMk cId="1072247607" sldId="330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4:30:51.210" v="9974"/>
          <ac:spMkLst>
            <pc:docMk/>
            <pc:sldMk cId="1072247607" sldId="330"/>
            <ac:spMk id="7" creationId="{6AD4CBD7-D9A7-169D-4153-387F366F0D29}"/>
          </ac:spMkLst>
        </pc:spChg>
        <pc:spChg chg="mod">
          <ac:chgData name="Pierre CHAVANNE" userId="2e2e2412-eb49-4787-bd3d-d17adeb25e11" providerId="ADAL" clId="{8E769656-82DF-4740-BA14-9D4801EE0342}" dt="2023-12-11T14:33:23.992" v="10102" actId="20577"/>
          <ac:spMkLst>
            <pc:docMk/>
            <pc:sldMk cId="1072247607" sldId="330"/>
            <ac:spMk id="10" creationId="{18B9EFBA-7F92-0321-957B-DC732358BF5F}"/>
          </ac:spMkLst>
        </pc:spChg>
        <pc:picChg chg="del mod">
          <ac:chgData name="Pierre CHAVANNE" userId="2e2e2412-eb49-4787-bd3d-d17adeb25e11" providerId="ADAL" clId="{8E769656-82DF-4740-BA14-9D4801EE0342}" dt="2023-12-11T14:31:04.970" v="9979" actId="478"/>
          <ac:picMkLst>
            <pc:docMk/>
            <pc:sldMk cId="1072247607" sldId="330"/>
            <ac:picMk id="13" creationId="{2EBB4F3A-E66D-08A2-DBAC-9B520D026A1C}"/>
          </ac:picMkLst>
        </pc:picChg>
        <pc:picChg chg="add mod">
          <ac:chgData name="Pierre CHAVANNE" userId="2e2e2412-eb49-4787-bd3d-d17adeb25e11" providerId="ADAL" clId="{8E769656-82DF-4740-BA14-9D4801EE0342}" dt="2023-12-11T14:31:11.179" v="10010" actId="1036"/>
          <ac:picMkLst>
            <pc:docMk/>
            <pc:sldMk cId="1072247607" sldId="330"/>
            <ac:picMk id="15362" creationId="{1A459550-14A8-D5D4-17E4-DFB91FB3F440}"/>
          </ac:picMkLst>
        </pc:picChg>
      </pc:sldChg>
      <pc:sldChg chg="addSp delSp modSp add mod">
        <pc:chgData name="Pierre CHAVANNE" userId="2e2e2412-eb49-4787-bd3d-d17adeb25e11" providerId="ADAL" clId="{8E769656-82DF-4740-BA14-9D4801EE0342}" dt="2023-12-11T14:31:56.241" v="10016" actId="1076"/>
        <pc:sldMkLst>
          <pc:docMk/>
          <pc:sldMk cId="184226453" sldId="331"/>
        </pc:sldMkLst>
        <pc:picChg chg="del">
          <ac:chgData name="Pierre CHAVANNE" userId="2e2e2412-eb49-4787-bd3d-d17adeb25e11" providerId="ADAL" clId="{8E769656-82DF-4740-BA14-9D4801EE0342}" dt="2023-12-11T14:31:49.520" v="10013" actId="478"/>
          <ac:picMkLst>
            <pc:docMk/>
            <pc:sldMk cId="184226453" sldId="331"/>
            <ac:picMk id="4" creationId="{96DFA70C-C169-561E-F0D6-6A1638CC1392}"/>
          </ac:picMkLst>
        </pc:picChg>
        <pc:picChg chg="add mod">
          <ac:chgData name="Pierre CHAVANNE" userId="2e2e2412-eb49-4787-bd3d-d17adeb25e11" providerId="ADAL" clId="{8E769656-82DF-4740-BA14-9D4801EE0342}" dt="2023-12-11T14:31:56.241" v="10016" actId="1076"/>
          <ac:picMkLst>
            <pc:docMk/>
            <pc:sldMk cId="184226453" sldId="331"/>
            <ac:picMk id="16386" creationId="{D969FFAE-8390-EAA7-4F02-1CDCCADAFF62}"/>
          </ac:picMkLst>
        </pc:picChg>
      </pc:sldChg>
      <pc:sldChg chg="addSp delSp modSp add mod">
        <pc:chgData name="Pierre CHAVANNE" userId="2e2e2412-eb49-4787-bd3d-d17adeb25e11" providerId="ADAL" clId="{8E769656-82DF-4740-BA14-9D4801EE0342}" dt="2023-12-11T14:34:51.182" v="10146" actId="20577"/>
        <pc:sldMkLst>
          <pc:docMk/>
          <pc:sldMk cId="1974310555" sldId="332"/>
        </pc:sldMkLst>
        <pc:spChg chg="mod">
          <ac:chgData name="Pierre CHAVANNE" userId="2e2e2412-eb49-4787-bd3d-d17adeb25e11" providerId="ADAL" clId="{8E769656-82DF-4740-BA14-9D4801EE0342}" dt="2023-12-11T14:33:37.081" v="10108" actId="20577"/>
          <ac:spMkLst>
            <pc:docMk/>
            <pc:sldMk cId="1974310555" sldId="332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4:34:51.182" v="10146" actId="20577"/>
          <ac:spMkLst>
            <pc:docMk/>
            <pc:sldMk cId="1974310555" sldId="332"/>
            <ac:spMk id="10" creationId="{18B9EFBA-7F92-0321-957B-DC732358BF5F}"/>
          </ac:spMkLst>
        </pc:spChg>
        <pc:picChg chg="del">
          <ac:chgData name="Pierre CHAVANNE" userId="2e2e2412-eb49-4787-bd3d-d17adeb25e11" providerId="ADAL" clId="{8E769656-82DF-4740-BA14-9D4801EE0342}" dt="2023-12-11T14:32:12.705" v="10020" actId="478"/>
          <ac:picMkLst>
            <pc:docMk/>
            <pc:sldMk cId="1974310555" sldId="332"/>
            <ac:picMk id="13" creationId="{29690F35-3B5B-932E-27B9-5D61468D063B}"/>
          </ac:picMkLst>
        </pc:picChg>
        <pc:picChg chg="add mod">
          <ac:chgData name="Pierre CHAVANNE" userId="2e2e2412-eb49-4787-bd3d-d17adeb25e11" providerId="ADAL" clId="{8E769656-82DF-4740-BA14-9D4801EE0342}" dt="2023-12-11T14:32:17.281" v="10056" actId="1036"/>
          <ac:picMkLst>
            <pc:docMk/>
            <pc:sldMk cId="1974310555" sldId="332"/>
            <ac:picMk id="17410" creationId="{A606EFAA-E88B-F3B2-3251-99E214ECCAE4}"/>
          </ac:picMkLst>
        </pc:picChg>
      </pc:sldChg>
      <pc:sldChg chg="addSp delSp modSp add mod">
        <pc:chgData name="Pierre CHAVANNE" userId="2e2e2412-eb49-4787-bd3d-d17adeb25e11" providerId="ADAL" clId="{8E769656-82DF-4740-BA14-9D4801EE0342}" dt="2023-12-11T14:34:21.115" v="10118" actId="1076"/>
        <pc:sldMkLst>
          <pc:docMk/>
          <pc:sldMk cId="1673591059" sldId="333"/>
        </pc:sldMkLst>
        <pc:picChg chg="del">
          <ac:chgData name="Pierre CHAVANNE" userId="2e2e2412-eb49-4787-bd3d-d17adeb25e11" providerId="ADAL" clId="{8E769656-82DF-4740-BA14-9D4801EE0342}" dt="2023-12-11T14:34:11.757" v="10115" actId="478"/>
          <ac:picMkLst>
            <pc:docMk/>
            <pc:sldMk cId="1673591059" sldId="333"/>
            <ac:picMk id="7" creationId="{9DAF32C9-DAB5-B0B9-FAAD-FE0409B10815}"/>
          </ac:picMkLst>
        </pc:picChg>
        <pc:picChg chg="add mod">
          <ac:chgData name="Pierre CHAVANNE" userId="2e2e2412-eb49-4787-bd3d-d17adeb25e11" providerId="ADAL" clId="{8E769656-82DF-4740-BA14-9D4801EE0342}" dt="2023-12-11T14:34:21.115" v="10118" actId="1076"/>
          <ac:picMkLst>
            <pc:docMk/>
            <pc:sldMk cId="1673591059" sldId="333"/>
            <ac:picMk id="18434" creationId="{2A7FD1AE-2EE5-B31A-3676-C80F44804A13}"/>
          </ac:picMkLst>
        </pc:picChg>
      </pc:sldChg>
      <pc:sldChg chg="addSp delSp modSp add mod">
        <pc:chgData name="Pierre CHAVANNE" userId="2e2e2412-eb49-4787-bd3d-d17adeb25e11" providerId="ADAL" clId="{8E769656-82DF-4740-BA14-9D4801EE0342}" dt="2023-12-11T14:37:24.303" v="10188" actId="20577"/>
        <pc:sldMkLst>
          <pc:docMk/>
          <pc:sldMk cId="3056355830" sldId="334"/>
        </pc:sldMkLst>
        <pc:spChg chg="mod">
          <ac:chgData name="Pierre CHAVANNE" userId="2e2e2412-eb49-4787-bd3d-d17adeb25e11" providerId="ADAL" clId="{8E769656-82DF-4740-BA14-9D4801EE0342}" dt="2023-12-11T14:35:17.994" v="10152" actId="20577"/>
          <ac:spMkLst>
            <pc:docMk/>
            <pc:sldMk cId="3056355830" sldId="334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4:37:24.303" v="10188" actId="20577"/>
          <ac:spMkLst>
            <pc:docMk/>
            <pc:sldMk cId="3056355830" sldId="334"/>
            <ac:spMk id="10" creationId="{18B9EFBA-7F92-0321-957B-DC732358BF5F}"/>
          </ac:spMkLst>
        </pc:spChg>
        <pc:picChg chg="add mod">
          <ac:chgData name="Pierre CHAVANNE" userId="2e2e2412-eb49-4787-bd3d-d17adeb25e11" providerId="ADAL" clId="{8E769656-82DF-4740-BA14-9D4801EE0342}" dt="2023-12-11T14:37:12.273" v="10183" actId="1076"/>
          <ac:picMkLst>
            <pc:docMk/>
            <pc:sldMk cId="3056355830" sldId="334"/>
            <ac:picMk id="4" creationId="{FBB425F4-351F-C5DA-08AD-F1F2497EF9AA}"/>
          </ac:picMkLst>
        </pc:picChg>
        <pc:picChg chg="del">
          <ac:chgData name="Pierre CHAVANNE" userId="2e2e2412-eb49-4787-bd3d-d17adeb25e11" providerId="ADAL" clId="{8E769656-82DF-4740-BA14-9D4801EE0342}" dt="2023-12-11T14:37:01.856" v="10153" actId="478"/>
          <ac:picMkLst>
            <pc:docMk/>
            <pc:sldMk cId="3056355830" sldId="334"/>
            <ac:picMk id="34" creationId="{ED999AE7-E13F-C983-CEDF-477B32721CDF}"/>
          </ac:picMkLst>
        </pc:picChg>
      </pc:sldChg>
      <pc:sldChg chg="addSp delSp modSp add mod">
        <pc:chgData name="Pierre CHAVANNE" userId="2e2e2412-eb49-4787-bd3d-d17adeb25e11" providerId="ADAL" clId="{8E769656-82DF-4740-BA14-9D4801EE0342}" dt="2023-12-11T14:50:37.596" v="10597" actId="478"/>
        <pc:sldMkLst>
          <pc:docMk/>
          <pc:sldMk cId="3121028424" sldId="335"/>
        </pc:sldMkLst>
        <pc:spChg chg="mod">
          <ac:chgData name="Pierre CHAVANNE" userId="2e2e2412-eb49-4787-bd3d-d17adeb25e11" providerId="ADAL" clId="{8E769656-82DF-4740-BA14-9D4801EE0342}" dt="2023-12-11T14:37:45.464" v="10204" actId="20577"/>
          <ac:spMkLst>
            <pc:docMk/>
            <pc:sldMk cId="3121028424" sldId="335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4:39:55.728" v="10266" actId="20577"/>
          <ac:spMkLst>
            <pc:docMk/>
            <pc:sldMk cId="3121028424" sldId="335"/>
            <ac:spMk id="10" creationId="{18B9EFBA-7F92-0321-957B-DC732358BF5F}"/>
          </ac:spMkLst>
        </pc:spChg>
        <pc:picChg chg="add mod">
          <ac:chgData name="Pierre CHAVANNE" userId="2e2e2412-eb49-4787-bd3d-d17adeb25e11" providerId="ADAL" clId="{8E769656-82DF-4740-BA14-9D4801EE0342}" dt="2023-12-11T14:50:24.592" v="10596" actId="1036"/>
          <ac:picMkLst>
            <pc:docMk/>
            <pc:sldMk cId="3121028424" sldId="335"/>
            <ac:picMk id="4" creationId="{3DA9470B-0483-AB32-DCA6-D6DEBDC2E3A3}"/>
          </ac:picMkLst>
        </pc:picChg>
        <pc:picChg chg="del">
          <ac:chgData name="Pierre CHAVANNE" userId="2e2e2412-eb49-4787-bd3d-d17adeb25e11" providerId="ADAL" clId="{8E769656-82DF-4740-BA14-9D4801EE0342}" dt="2023-12-11T14:38:29.191" v="10233" actId="478"/>
          <ac:picMkLst>
            <pc:docMk/>
            <pc:sldMk cId="3121028424" sldId="335"/>
            <ac:picMk id="8" creationId="{1EDB6D1B-5227-53F7-E457-44EBB3A7A974}"/>
          </ac:picMkLst>
        </pc:picChg>
        <pc:picChg chg="del mod">
          <ac:chgData name="Pierre CHAVANNE" userId="2e2e2412-eb49-4787-bd3d-d17adeb25e11" providerId="ADAL" clId="{8E769656-82DF-4740-BA14-9D4801EE0342}" dt="2023-12-11T14:38:26.593" v="10232" actId="478"/>
          <ac:picMkLst>
            <pc:docMk/>
            <pc:sldMk cId="3121028424" sldId="335"/>
            <ac:picMk id="20" creationId="{17F72769-34E8-32BA-AADE-A7AE015C71F6}"/>
          </ac:picMkLst>
        </pc:picChg>
        <pc:picChg chg="add mod">
          <ac:chgData name="Pierre CHAVANNE" userId="2e2e2412-eb49-4787-bd3d-d17adeb25e11" providerId="ADAL" clId="{8E769656-82DF-4740-BA14-9D4801EE0342}" dt="2023-12-11T14:50:21.119" v="10578" actId="1036"/>
          <ac:picMkLst>
            <pc:docMk/>
            <pc:sldMk cId="3121028424" sldId="335"/>
            <ac:picMk id="19458" creationId="{4819728D-B48E-3FC7-BDA4-4B8991344440}"/>
          </ac:picMkLst>
        </pc:picChg>
        <pc:cxnChg chg="add del mod">
          <ac:chgData name="Pierre CHAVANNE" userId="2e2e2412-eb49-4787-bd3d-d17adeb25e11" providerId="ADAL" clId="{8E769656-82DF-4740-BA14-9D4801EE0342}" dt="2023-12-11T14:50:37.596" v="10597" actId="478"/>
          <ac:cxnSpMkLst>
            <pc:docMk/>
            <pc:sldMk cId="3121028424" sldId="335"/>
            <ac:cxnSpMk id="5" creationId="{59CFF18F-7CE9-0648-84ED-89CD2B7FCBA9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4:51:53.876" v="10803" actId="20577"/>
        <pc:sldMkLst>
          <pc:docMk/>
          <pc:sldMk cId="3966347907" sldId="336"/>
        </pc:sldMkLst>
        <pc:spChg chg="mod">
          <ac:chgData name="Pierre CHAVANNE" userId="2e2e2412-eb49-4787-bd3d-d17adeb25e11" providerId="ADAL" clId="{8E769656-82DF-4740-BA14-9D4801EE0342}" dt="2023-12-11T14:51:53.876" v="10803" actId="20577"/>
          <ac:spMkLst>
            <pc:docMk/>
            <pc:sldMk cId="3966347907" sldId="336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4:42:00.177" v="10287" actId="20577"/>
          <ac:spMkLst>
            <pc:docMk/>
            <pc:sldMk cId="3966347907" sldId="336"/>
            <ac:spMk id="10" creationId="{18B9EFBA-7F92-0321-957B-DC732358BF5F}"/>
          </ac:spMkLst>
        </pc:spChg>
        <pc:picChg chg="del mod">
          <ac:chgData name="Pierre CHAVANNE" userId="2e2e2412-eb49-4787-bd3d-d17adeb25e11" providerId="ADAL" clId="{8E769656-82DF-4740-BA14-9D4801EE0342}" dt="2023-12-11T14:40:44.311" v="10272" actId="478"/>
          <ac:picMkLst>
            <pc:docMk/>
            <pc:sldMk cId="3966347907" sldId="336"/>
            <ac:picMk id="5" creationId="{89E71372-633B-C96E-833D-0C63FFF8C011}"/>
          </ac:picMkLst>
        </pc:picChg>
        <pc:picChg chg="add mod">
          <ac:chgData name="Pierre CHAVANNE" userId="2e2e2412-eb49-4787-bd3d-d17adeb25e11" providerId="ADAL" clId="{8E769656-82DF-4740-BA14-9D4801EE0342}" dt="2023-12-11T14:50:43.128" v="10615" actId="1036"/>
          <ac:picMkLst>
            <pc:docMk/>
            <pc:sldMk cId="3966347907" sldId="336"/>
            <ac:picMk id="8" creationId="{F39236ED-0E32-CD96-DE08-FA26711BF4FF}"/>
          </ac:picMkLst>
        </pc:picChg>
        <pc:picChg chg="del">
          <ac:chgData name="Pierre CHAVANNE" userId="2e2e2412-eb49-4787-bd3d-d17adeb25e11" providerId="ADAL" clId="{8E769656-82DF-4740-BA14-9D4801EE0342}" dt="2023-12-11T14:40:46.146" v="10273" actId="478"/>
          <ac:picMkLst>
            <pc:docMk/>
            <pc:sldMk cId="3966347907" sldId="336"/>
            <ac:picMk id="15" creationId="{3F1C550A-C601-9894-EE88-910FA14D429D}"/>
          </ac:picMkLst>
        </pc:picChg>
        <pc:picChg chg="add mod">
          <ac:chgData name="Pierre CHAVANNE" userId="2e2e2412-eb49-4787-bd3d-d17adeb25e11" providerId="ADAL" clId="{8E769656-82DF-4740-BA14-9D4801EE0342}" dt="2023-12-11T14:50:40.752" v="10603" actId="1036"/>
          <ac:picMkLst>
            <pc:docMk/>
            <pc:sldMk cId="3966347907" sldId="336"/>
            <ac:picMk id="20482" creationId="{A220AA45-A5F4-6C96-3B5A-242C25A1C04C}"/>
          </ac:picMkLst>
        </pc:picChg>
        <pc:cxnChg chg="add del mod">
          <ac:chgData name="Pierre CHAVANNE" userId="2e2e2412-eb49-4787-bd3d-d17adeb25e11" providerId="ADAL" clId="{8E769656-82DF-4740-BA14-9D4801EE0342}" dt="2023-12-11T14:50:45.285" v="10616" actId="478"/>
          <ac:cxnSpMkLst>
            <pc:docMk/>
            <pc:sldMk cId="3966347907" sldId="336"/>
            <ac:cxnSpMk id="9" creationId="{93F1721E-5D72-3D8C-D5D8-6785901E68C6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5:03:04.364" v="11060" actId="20577"/>
        <pc:sldMkLst>
          <pc:docMk/>
          <pc:sldMk cId="96396930" sldId="337"/>
        </pc:sldMkLst>
        <pc:spChg chg="mod">
          <ac:chgData name="Pierre CHAVANNE" userId="2e2e2412-eb49-4787-bd3d-d17adeb25e11" providerId="ADAL" clId="{8E769656-82DF-4740-BA14-9D4801EE0342}" dt="2023-12-11T15:03:04.364" v="11060" actId="20577"/>
          <ac:spMkLst>
            <pc:docMk/>
            <pc:sldMk cId="96396930" sldId="337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4:54:40.074" v="10883" actId="20577"/>
          <ac:spMkLst>
            <pc:docMk/>
            <pc:sldMk cId="96396930" sldId="337"/>
            <ac:spMk id="7" creationId="{6AD4CBD7-D9A7-169D-4153-387F366F0D29}"/>
          </ac:spMkLst>
        </pc:spChg>
        <pc:spChg chg="mod">
          <ac:chgData name="Pierre CHAVANNE" userId="2e2e2412-eb49-4787-bd3d-d17adeb25e11" providerId="ADAL" clId="{8E769656-82DF-4740-BA14-9D4801EE0342}" dt="2023-12-11T14:56:21.920" v="10961" actId="20577"/>
          <ac:spMkLst>
            <pc:docMk/>
            <pc:sldMk cId="96396930" sldId="337"/>
            <ac:spMk id="10" creationId="{18B9EFBA-7F92-0321-957B-DC732358BF5F}"/>
          </ac:spMkLst>
        </pc:spChg>
        <pc:picChg chg="add del mod">
          <ac:chgData name="Pierre CHAVANNE" userId="2e2e2412-eb49-4787-bd3d-d17adeb25e11" providerId="ADAL" clId="{8E769656-82DF-4740-BA14-9D4801EE0342}" dt="2023-12-11T14:47:27.751" v="10393" actId="478"/>
          <ac:picMkLst>
            <pc:docMk/>
            <pc:sldMk cId="96396930" sldId="337"/>
            <ac:picMk id="4" creationId="{32C2EFB5-442E-604A-6FC0-D379E832BA5D}"/>
          </ac:picMkLst>
        </pc:picChg>
        <pc:picChg chg="add del">
          <ac:chgData name="Pierre CHAVANNE" userId="2e2e2412-eb49-4787-bd3d-d17adeb25e11" providerId="ADAL" clId="{8E769656-82DF-4740-BA14-9D4801EE0342}" dt="2023-12-11T14:43:37.805" v="10345" actId="478"/>
          <ac:picMkLst>
            <pc:docMk/>
            <pc:sldMk cId="96396930" sldId="337"/>
            <ac:picMk id="8" creationId="{0B0EF97D-3B1E-30BB-F474-E92FE16B7188}"/>
          </ac:picMkLst>
        </pc:picChg>
        <pc:picChg chg="add mod">
          <ac:chgData name="Pierre CHAVANNE" userId="2e2e2412-eb49-4787-bd3d-d17adeb25e11" providerId="ADAL" clId="{8E769656-82DF-4740-BA14-9D4801EE0342}" dt="2023-12-11T14:51:15.434" v="10747" actId="1036"/>
          <ac:picMkLst>
            <pc:docMk/>
            <pc:sldMk cId="96396930" sldId="337"/>
            <ac:picMk id="9" creationId="{4D1A801F-0D18-DAB9-AEE6-95ECF39A5320}"/>
          </ac:picMkLst>
        </pc:picChg>
        <pc:picChg chg="del">
          <ac:chgData name="Pierre CHAVANNE" userId="2e2e2412-eb49-4787-bd3d-d17adeb25e11" providerId="ADAL" clId="{8E769656-82DF-4740-BA14-9D4801EE0342}" dt="2023-12-11T14:43:25.263" v="10341" actId="478"/>
          <ac:picMkLst>
            <pc:docMk/>
            <pc:sldMk cId="96396930" sldId="337"/>
            <ac:picMk id="18" creationId="{78F4221C-B887-5C66-AE16-A43AB674CFDB}"/>
          </ac:picMkLst>
        </pc:picChg>
        <pc:picChg chg="add mod">
          <ac:chgData name="Pierre CHAVANNE" userId="2e2e2412-eb49-4787-bd3d-d17adeb25e11" providerId="ADAL" clId="{8E769656-82DF-4740-BA14-9D4801EE0342}" dt="2023-12-11T14:51:11.899" v="10724" actId="1036"/>
          <ac:picMkLst>
            <pc:docMk/>
            <pc:sldMk cId="96396930" sldId="337"/>
            <ac:picMk id="21506" creationId="{EF821EA7-24BD-07F9-3747-EDC9C1494837}"/>
          </ac:picMkLst>
        </pc:picChg>
        <pc:cxnChg chg="add del mod">
          <ac:chgData name="Pierre CHAVANNE" userId="2e2e2412-eb49-4787-bd3d-d17adeb25e11" providerId="ADAL" clId="{8E769656-82DF-4740-BA14-9D4801EE0342}" dt="2023-12-11T14:51:18.388" v="10748" actId="478"/>
          <ac:cxnSpMkLst>
            <pc:docMk/>
            <pc:sldMk cId="96396930" sldId="337"/>
            <ac:cxnSpMk id="11" creationId="{11D8AE74-C8D7-AC6E-082A-15CB40F41EFE}"/>
          </ac:cxnSpMkLst>
        </pc:cxnChg>
      </pc:sldChg>
      <pc:sldChg chg="addSp delSp modSp add mod ord">
        <pc:chgData name="Pierre CHAVANNE" userId="2e2e2412-eb49-4787-bd3d-d17adeb25e11" providerId="ADAL" clId="{8E769656-82DF-4740-BA14-9D4801EE0342}" dt="2023-12-11T14:54:16.759" v="10869" actId="20577"/>
        <pc:sldMkLst>
          <pc:docMk/>
          <pc:sldMk cId="2969756454" sldId="338"/>
        </pc:sldMkLst>
        <pc:spChg chg="mod">
          <ac:chgData name="Pierre CHAVANNE" userId="2e2e2412-eb49-4787-bd3d-d17adeb25e11" providerId="ADAL" clId="{8E769656-82DF-4740-BA14-9D4801EE0342}" dt="2023-12-11T14:52:09.991" v="10824" actId="20577"/>
          <ac:spMkLst>
            <pc:docMk/>
            <pc:sldMk cId="2969756454" sldId="338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4:43:56.519" v="10353" actId="20577"/>
          <ac:spMkLst>
            <pc:docMk/>
            <pc:sldMk cId="2969756454" sldId="338"/>
            <ac:spMk id="7" creationId="{6AD4CBD7-D9A7-169D-4153-387F366F0D29}"/>
          </ac:spMkLst>
        </pc:spChg>
        <pc:spChg chg="mod">
          <ac:chgData name="Pierre CHAVANNE" userId="2e2e2412-eb49-4787-bd3d-d17adeb25e11" providerId="ADAL" clId="{8E769656-82DF-4740-BA14-9D4801EE0342}" dt="2023-12-11T14:54:16.759" v="10869" actId="20577"/>
          <ac:spMkLst>
            <pc:docMk/>
            <pc:sldMk cId="2969756454" sldId="338"/>
            <ac:spMk id="10" creationId="{18B9EFBA-7F92-0321-957B-DC732358BF5F}"/>
          </ac:spMkLst>
        </pc:spChg>
        <pc:picChg chg="add mod">
          <ac:chgData name="Pierre CHAVANNE" userId="2e2e2412-eb49-4787-bd3d-d17adeb25e11" providerId="ADAL" clId="{8E769656-82DF-4740-BA14-9D4801EE0342}" dt="2023-12-11T14:50:51.605" v="10655" actId="1035"/>
          <ac:picMkLst>
            <pc:docMk/>
            <pc:sldMk cId="2969756454" sldId="338"/>
            <ac:picMk id="5" creationId="{1426DBDF-5CDC-C629-7937-43729C7F04E6}"/>
          </ac:picMkLst>
        </pc:picChg>
        <pc:picChg chg="del mod">
          <ac:chgData name="Pierre CHAVANNE" userId="2e2e2412-eb49-4787-bd3d-d17adeb25e11" providerId="ADAL" clId="{8E769656-82DF-4740-BA14-9D4801EE0342}" dt="2023-12-11T14:43:45.878" v="10348" actId="478"/>
          <ac:picMkLst>
            <pc:docMk/>
            <pc:sldMk cId="2969756454" sldId="338"/>
            <ac:picMk id="15" creationId="{EDEC33E9-EA1A-A504-03ED-45381AF6C460}"/>
          </ac:picMkLst>
        </pc:picChg>
        <pc:picChg chg="del">
          <ac:chgData name="Pierre CHAVANNE" userId="2e2e2412-eb49-4787-bd3d-d17adeb25e11" providerId="ADAL" clId="{8E769656-82DF-4740-BA14-9D4801EE0342}" dt="2023-12-11T14:43:45.439" v="10346" actId="478"/>
          <ac:picMkLst>
            <pc:docMk/>
            <pc:sldMk cId="2969756454" sldId="338"/>
            <ac:picMk id="1026" creationId="{D3FA8822-7191-E03C-91E5-8AC91E125462}"/>
          </ac:picMkLst>
        </pc:picChg>
        <pc:picChg chg="add mod">
          <ac:chgData name="Pierre CHAVANNE" userId="2e2e2412-eb49-4787-bd3d-d17adeb25e11" providerId="ADAL" clId="{8E769656-82DF-4740-BA14-9D4801EE0342}" dt="2023-12-11T14:50:48.919" v="10635" actId="1036"/>
          <ac:picMkLst>
            <pc:docMk/>
            <pc:sldMk cId="2969756454" sldId="338"/>
            <ac:picMk id="11266" creationId="{D5DCBA3B-6205-A512-75E1-4AAB7E863329}"/>
          </ac:picMkLst>
        </pc:picChg>
        <pc:cxnChg chg="add del mod">
          <ac:chgData name="Pierre CHAVANNE" userId="2e2e2412-eb49-4787-bd3d-d17adeb25e11" providerId="ADAL" clId="{8E769656-82DF-4740-BA14-9D4801EE0342}" dt="2023-12-11T14:50:53.508" v="10656" actId="478"/>
          <ac:cxnSpMkLst>
            <pc:docMk/>
            <pc:sldMk cId="2969756454" sldId="338"/>
            <ac:cxnSpMk id="8" creationId="{A639B3FF-4D1C-7AAD-B2A6-E9B3303619E3}"/>
          </ac:cxnSpMkLst>
        </pc:cxnChg>
      </pc:sldChg>
      <pc:sldChg chg="addSp delSp modSp add mod ord">
        <pc:chgData name="Pierre CHAVANNE" userId="2e2e2412-eb49-4787-bd3d-d17adeb25e11" providerId="ADAL" clId="{8E769656-82DF-4740-BA14-9D4801EE0342}" dt="2023-12-11T15:03:00.730" v="11054" actId="20577"/>
        <pc:sldMkLst>
          <pc:docMk/>
          <pc:sldMk cId="3712497180" sldId="339"/>
        </pc:sldMkLst>
        <pc:spChg chg="mod">
          <ac:chgData name="Pierre CHAVANNE" userId="2e2e2412-eb49-4787-bd3d-d17adeb25e11" providerId="ADAL" clId="{8E769656-82DF-4740-BA14-9D4801EE0342}" dt="2023-12-11T15:03:00.730" v="11054" actId="20577"/>
          <ac:spMkLst>
            <pc:docMk/>
            <pc:sldMk cId="3712497180" sldId="339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4:45:34.463" v="10378"/>
          <ac:spMkLst>
            <pc:docMk/>
            <pc:sldMk cId="3712497180" sldId="339"/>
            <ac:spMk id="7" creationId="{6AD4CBD7-D9A7-169D-4153-387F366F0D29}"/>
          </ac:spMkLst>
        </pc:spChg>
        <pc:spChg chg="mod">
          <ac:chgData name="Pierre CHAVANNE" userId="2e2e2412-eb49-4787-bd3d-d17adeb25e11" providerId="ADAL" clId="{8E769656-82DF-4740-BA14-9D4801EE0342}" dt="2023-12-11T14:54:50.485" v="10888" actId="20577"/>
          <ac:spMkLst>
            <pc:docMk/>
            <pc:sldMk cId="3712497180" sldId="339"/>
            <ac:spMk id="10" creationId="{18B9EFBA-7F92-0321-957B-DC732358BF5F}"/>
          </ac:spMkLst>
        </pc:spChg>
        <pc:graphicFrameChg chg="add del mod">
          <ac:chgData name="Pierre CHAVANNE" userId="2e2e2412-eb49-4787-bd3d-d17adeb25e11" providerId="ADAL" clId="{8E769656-82DF-4740-BA14-9D4801EE0342}" dt="2023-12-11T14:46:35.395" v="10383"/>
          <ac:graphicFrameMkLst>
            <pc:docMk/>
            <pc:sldMk cId="3712497180" sldId="339"/>
            <ac:graphicFrameMk id="3" creationId="{21AE3217-845A-7B2A-B15E-B3FEA5F81E51}"/>
          </ac:graphicFrameMkLst>
        </pc:graphicFrameChg>
        <pc:picChg chg="add mod">
          <ac:chgData name="Pierre CHAVANNE" userId="2e2e2412-eb49-4787-bd3d-d17adeb25e11" providerId="ADAL" clId="{8E769656-82DF-4740-BA14-9D4801EE0342}" dt="2023-12-11T14:51:00.690" v="10704" actId="1035"/>
          <ac:picMkLst>
            <pc:docMk/>
            <pc:sldMk cId="3712497180" sldId="339"/>
            <ac:picMk id="8" creationId="{56B52535-9F69-EDED-C806-497A42A097DE}"/>
          </ac:picMkLst>
        </pc:picChg>
        <pc:picChg chg="del">
          <ac:chgData name="Pierre CHAVANNE" userId="2e2e2412-eb49-4787-bd3d-d17adeb25e11" providerId="ADAL" clId="{8E769656-82DF-4740-BA14-9D4801EE0342}" dt="2023-12-11T14:43:47.897" v="10350" actId="478"/>
          <ac:picMkLst>
            <pc:docMk/>
            <pc:sldMk cId="3712497180" sldId="339"/>
            <ac:picMk id="14" creationId="{5D3598EF-4492-36F9-18FA-4C12D0C1B831}"/>
          </ac:picMkLst>
        </pc:picChg>
        <pc:picChg chg="del">
          <ac:chgData name="Pierre CHAVANNE" userId="2e2e2412-eb49-4787-bd3d-d17adeb25e11" providerId="ADAL" clId="{8E769656-82DF-4740-BA14-9D4801EE0342}" dt="2023-12-11T14:43:47.538" v="10349" actId="478"/>
          <ac:picMkLst>
            <pc:docMk/>
            <pc:sldMk cId="3712497180" sldId="339"/>
            <ac:picMk id="2050" creationId="{7042412F-3F27-9613-B324-4D50E6A5654E}"/>
          </ac:picMkLst>
        </pc:picChg>
        <pc:picChg chg="add mod">
          <ac:chgData name="Pierre CHAVANNE" userId="2e2e2412-eb49-4787-bd3d-d17adeb25e11" providerId="ADAL" clId="{8E769656-82DF-4740-BA14-9D4801EE0342}" dt="2023-12-11T14:50:57.490" v="10675" actId="1036"/>
          <ac:picMkLst>
            <pc:docMk/>
            <pc:sldMk cId="3712497180" sldId="339"/>
            <ac:picMk id="10242" creationId="{656C976A-E48B-3AC8-8CE4-3718D3BA6D05}"/>
          </ac:picMkLst>
        </pc:picChg>
        <pc:cxnChg chg="add del mod">
          <ac:chgData name="Pierre CHAVANNE" userId="2e2e2412-eb49-4787-bd3d-d17adeb25e11" providerId="ADAL" clId="{8E769656-82DF-4740-BA14-9D4801EE0342}" dt="2023-12-11T14:51:03.506" v="10705" actId="478"/>
          <ac:cxnSpMkLst>
            <pc:docMk/>
            <pc:sldMk cId="3712497180" sldId="339"/>
            <ac:cxnSpMk id="9" creationId="{5F4B77AA-0B62-F746-B9DE-4B8B36463CB5}"/>
          </ac:cxnSpMkLst>
        </pc:cxnChg>
        <pc:cxnChg chg="add del mod">
          <ac:chgData name="Pierre CHAVANNE" userId="2e2e2412-eb49-4787-bd3d-d17adeb25e11" providerId="ADAL" clId="{8E769656-82DF-4740-BA14-9D4801EE0342}" dt="2023-12-11T14:51:07.815" v="10707"/>
          <ac:cxnSpMkLst>
            <pc:docMk/>
            <pc:sldMk cId="3712497180" sldId="339"/>
            <ac:cxnSpMk id="11" creationId="{383CFFAA-00CA-D404-3B97-A638C3C8E7C1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5:10:31.706" v="11234" actId="20577"/>
        <pc:sldMkLst>
          <pc:docMk/>
          <pc:sldMk cId="2553264670" sldId="340"/>
        </pc:sldMkLst>
        <pc:spChg chg="mod">
          <ac:chgData name="Pierre CHAVANNE" userId="2e2e2412-eb49-4787-bd3d-d17adeb25e11" providerId="ADAL" clId="{8E769656-82DF-4740-BA14-9D4801EE0342}" dt="2023-12-11T15:03:08.059" v="11066" actId="20577"/>
          <ac:spMkLst>
            <pc:docMk/>
            <pc:sldMk cId="2553264670" sldId="340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5:10:31.706" v="11234" actId="20577"/>
          <ac:spMkLst>
            <pc:docMk/>
            <pc:sldMk cId="2553264670" sldId="340"/>
            <ac:spMk id="14" creationId="{244A11D9-903C-063B-57C5-F8DBD33A487B}"/>
          </ac:spMkLst>
        </pc:spChg>
        <pc:picChg chg="add mod">
          <ac:chgData name="Pierre CHAVANNE" userId="2e2e2412-eb49-4787-bd3d-d17adeb25e11" providerId="ADAL" clId="{8E769656-82DF-4740-BA14-9D4801EE0342}" dt="2023-12-11T15:07:21.386" v="11112" actId="1076"/>
          <ac:picMkLst>
            <pc:docMk/>
            <pc:sldMk cId="2553264670" sldId="340"/>
            <ac:picMk id="8" creationId="{D3037864-3EBA-3F74-1F67-2F0D2E154B8D}"/>
          </ac:picMkLst>
        </pc:picChg>
        <pc:picChg chg="del mod">
          <ac:chgData name="Pierre CHAVANNE" userId="2e2e2412-eb49-4787-bd3d-d17adeb25e11" providerId="ADAL" clId="{8E769656-82DF-4740-BA14-9D4801EE0342}" dt="2023-12-11T15:06:20.196" v="11109" actId="478"/>
          <ac:picMkLst>
            <pc:docMk/>
            <pc:sldMk cId="2553264670" sldId="340"/>
            <ac:picMk id="20" creationId="{9DA74D9A-992B-8F96-2317-AC22A113A389}"/>
          </ac:picMkLst>
        </pc:picChg>
        <pc:picChg chg="del mod">
          <ac:chgData name="Pierre CHAVANNE" userId="2e2e2412-eb49-4787-bd3d-d17adeb25e11" providerId="ADAL" clId="{8E769656-82DF-4740-BA14-9D4801EE0342}" dt="2023-12-11T15:03:41.230" v="11089" actId="478"/>
          <ac:picMkLst>
            <pc:docMk/>
            <pc:sldMk cId="2553264670" sldId="340"/>
            <ac:picMk id="3074" creationId="{0E49D444-10C0-572B-FCCA-2680B1B8C583}"/>
          </ac:picMkLst>
        </pc:picChg>
        <pc:picChg chg="add mod">
          <ac:chgData name="Pierre CHAVANNE" userId="2e2e2412-eb49-4787-bd3d-d17adeb25e11" providerId="ADAL" clId="{8E769656-82DF-4740-BA14-9D4801EE0342}" dt="2023-12-11T15:03:39.639" v="11088" actId="167"/>
          <ac:picMkLst>
            <pc:docMk/>
            <pc:sldMk cId="2553264670" sldId="340"/>
            <ac:picMk id="9218" creationId="{6DA7B4AE-37EB-72F9-7717-CB76F5BEDFBF}"/>
          </ac:picMkLst>
        </pc:picChg>
        <pc:cxnChg chg="add del mod">
          <ac:chgData name="Pierre CHAVANNE" userId="2e2e2412-eb49-4787-bd3d-d17adeb25e11" providerId="ADAL" clId="{8E769656-82DF-4740-BA14-9D4801EE0342}" dt="2023-12-11T14:51:25.875" v="10762" actId="478"/>
          <ac:cxnSpMkLst>
            <pc:docMk/>
            <pc:sldMk cId="2553264670" sldId="340"/>
            <ac:cxnSpMk id="4" creationId="{E0F4A49B-0DD3-1F74-73DE-3AB130D1EF1F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5:12:46.187" v="11344" actId="20577"/>
        <pc:sldMkLst>
          <pc:docMk/>
          <pc:sldMk cId="159668005" sldId="341"/>
        </pc:sldMkLst>
        <pc:spChg chg="mod">
          <ac:chgData name="Pierre CHAVANNE" userId="2e2e2412-eb49-4787-bd3d-d17adeb25e11" providerId="ADAL" clId="{8E769656-82DF-4740-BA14-9D4801EE0342}" dt="2023-12-11T15:10:38.123" v="11244" actId="20577"/>
          <ac:spMkLst>
            <pc:docMk/>
            <pc:sldMk cId="159668005" sldId="341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5:12:46.187" v="11344" actId="20577"/>
          <ac:spMkLst>
            <pc:docMk/>
            <pc:sldMk cId="159668005" sldId="341"/>
            <ac:spMk id="14" creationId="{244A11D9-903C-063B-57C5-F8DBD33A487B}"/>
          </ac:spMkLst>
        </pc:spChg>
        <pc:picChg chg="add mod">
          <ac:chgData name="Pierre CHAVANNE" userId="2e2e2412-eb49-4787-bd3d-d17adeb25e11" providerId="ADAL" clId="{8E769656-82DF-4740-BA14-9D4801EE0342}" dt="2023-12-11T15:09:01.788" v="11174" actId="1076"/>
          <ac:picMkLst>
            <pc:docMk/>
            <pc:sldMk cId="159668005" sldId="341"/>
            <ac:picMk id="5" creationId="{D041D903-79F5-98CB-9449-9530657D69FF}"/>
          </ac:picMkLst>
        </pc:picChg>
        <pc:picChg chg="del mod">
          <ac:chgData name="Pierre CHAVANNE" userId="2e2e2412-eb49-4787-bd3d-d17adeb25e11" providerId="ADAL" clId="{8E769656-82DF-4740-BA14-9D4801EE0342}" dt="2023-12-11T15:07:49.735" v="11169" actId="478"/>
          <ac:picMkLst>
            <pc:docMk/>
            <pc:sldMk cId="159668005" sldId="341"/>
            <ac:picMk id="13" creationId="{CA572920-80AF-B899-1A38-D588E6A910CE}"/>
          </ac:picMkLst>
        </pc:picChg>
        <pc:picChg chg="del mod">
          <ac:chgData name="Pierre CHAVANNE" userId="2e2e2412-eb49-4787-bd3d-d17adeb25e11" providerId="ADAL" clId="{8E769656-82DF-4740-BA14-9D4801EE0342}" dt="2023-12-11T15:07:48.063" v="11168" actId="478"/>
          <ac:picMkLst>
            <pc:docMk/>
            <pc:sldMk cId="159668005" sldId="341"/>
            <ac:picMk id="4098" creationId="{7A66E031-7D5B-D473-0EF5-283D60DDCF08}"/>
          </ac:picMkLst>
        </pc:picChg>
        <pc:picChg chg="add mod">
          <ac:chgData name="Pierre CHAVANNE" userId="2e2e2412-eb49-4787-bd3d-d17adeb25e11" providerId="ADAL" clId="{8E769656-82DF-4740-BA14-9D4801EE0342}" dt="2023-12-11T15:07:47.082" v="11167" actId="167"/>
          <ac:picMkLst>
            <pc:docMk/>
            <pc:sldMk cId="159668005" sldId="341"/>
            <ac:picMk id="8194" creationId="{C8316548-E5A6-BE7B-E3AF-F5F069806BBF}"/>
          </ac:picMkLst>
        </pc:picChg>
        <pc:cxnChg chg="add del mod">
          <ac:chgData name="Pierre CHAVANNE" userId="2e2e2412-eb49-4787-bd3d-d17adeb25e11" providerId="ADAL" clId="{8E769656-82DF-4740-BA14-9D4801EE0342}" dt="2023-12-11T14:51:33.072" v="10784" actId="478"/>
          <ac:cxnSpMkLst>
            <pc:docMk/>
            <pc:sldMk cId="159668005" sldId="341"/>
            <ac:cxnSpMk id="3" creationId="{D9FB8F63-A8F8-4DBD-48DB-A8AE62960B43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5:12:56.199" v="11355" actId="20577"/>
        <pc:sldMkLst>
          <pc:docMk/>
          <pc:sldMk cId="288494447" sldId="342"/>
        </pc:sldMkLst>
        <pc:spChg chg="mod">
          <ac:chgData name="Pierre CHAVANNE" userId="2e2e2412-eb49-4787-bd3d-d17adeb25e11" providerId="ADAL" clId="{8E769656-82DF-4740-BA14-9D4801EE0342}" dt="2023-12-11T15:12:56.199" v="11355" actId="20577"/>
          <ac:spMkLst>
            <pc:docMk/>
            <pc:sldMk cId="288494447" sldId="342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5:12:52.912" v="11349" actId="20577"/>
          <ac:spMkLst>
            <pc:docMk/>
            <pc:sldMk cId="288494447" sldId="342"/>
            <ac:spMk id="14" creationId="{244A11D9-903C-063B-57C5-F8DBD33A487B}"/>
          </ac:spMkLst>
        </pc:spChg>
        <pc:picChg chg="add mod">
          <ac:chgData name="Pierre CHAVANNE" userId="2e2e2412-eb49-4787-bd3d-d17adeb25e11" providerId="ADAL" clId="{8E769656-82DF-4740-BA14-9D4801EE0342}" dt="2023-12-11T15:10:18.301" v="11229" actId="1076"/>
          <ac:picMkLst>
            <pc:docMk/>
            <pc:sldMk cId="288494447" sldId="342"/>
            <ac:picMk id="8" creationId="{92041C47-74AB-D147-5C1B-5CB506C27FD5}"/>
          </ac:picMkLst>
        </pc:picChg>
        <pc:picChg chg="del mod">
          <ac:chgData name="Pierre CHAVANNE" userId="2e2e2412-eb49-4787-bd3d-d17adeb25e11" providerId="ADAL" clId="{8E769656-82DF-4740-BA14-9D4801EE0342}" dt="2023-12-11T15:09:30.238" v="11226" actId="478"/>
          <ac:picMkLst>
            <pc:docMk/>
            <pc:sldMk cId="288494447" sldId="342"/>
            <ac:picMk id="15" creationId="{992DF3F5-43D4-5C5F-67BA-17710507968F}"/>
          </ac:picMkLst>
        </pc:picChg>
        <pc:picChg chg="del mod">
          <ac:chgData name="Pierre CHAVANNE" userId="2e2e2412-eb49-4787-bd3d-d17adeb25e11" providerId="ADAL" clId="{8E769656-82DF-4740-BA14-9D4801EE0342}" dt="2023-12-11T15:09:29.133" v="11225" actId="478"/>
          <ac:picMkLst>
            <pc:docMk/>
            <pc:sldMk cId="288494447" sldId="342"/>
            <ac:picMk id="5122" creationId="{A4A098EA-ACDD-EE1F-9DB4-A7070D6B4151}"/>
          </ac:picMkLst>
        </pc:picChg>
        <pc:picChg chg="add mod">
          <ac:chgData name="Pierre CHAVANNE" userId="2e2e2412-eb49-4787-bd3d-d17adeb25e11" providerId="ADAL" clId="{8E769656-82DF-4740-BA14-9D4801EE0342}" dt="2023-12-11T15:09:27.888" v="11224" actId="167"/>
          <ac:picMkLst>
            <pc:docMk/>
            <pc:sldMk cId="288494447" sldId="342"/>
            <ac:picMk id="7170" creationId="{DE4CA4F2-FDF9-32B4-BC2B-AFBF9D7EB0F3}"/>
          </ac:picMkLst>
        </pc:picChg>
        <pc:cxnChg chg="add del mod">
          <ac:chgData name="Pierre CHAVANNE" userId="2e2e2412-eb49-4787-bd3d-d17adeb25e11" providerId="ADAL" clId="{8E769656-82DF-4740-BA14-9D4801EE0342}" dt="2023-12-11T14:51:39.190" v="10797" actId="478"/>
          <ac:cxnSpMkLst>
            <pc:docMk/>
            <pc:sldMk cId="288494447" sldId="342"/>
            <ac:cxnSpMk id="3" creationId="{701543DD-BB18-16F2-4181-042D7ABD0D3F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5:00:28.030" v="11048" actId="20577"/>
        <pc:sldMkLst>
          <pc:docMk/>
          <pc:sldMk cId="2179127919" sldId="343"/>
        </pc:sldMkLst>
        <pc:spChg chg="mod">
          <ac:chgData name="Pierre CHAVANNE" userId="2e2e2412-eb49-4787-bd3d-d17adeb25e11" providerId="ADAL" clId="{8E769656-82DF-4740-BA14-9D4801EE0342}" dt="2023-12-11T14:57:03.007" v="10980" actId="20577"/>
          <ac:spMkLst>
            <pc:docMk/>
            <pc:sldMk cId="2179127919" sldId="343"/>
            <ac:spMk id="7" creationId="{6AD4CBD7-D9A7-169D-4153-387F366F0D29}"/>
          </ac:spMkLst>
        </pc:spChg>
        <pc:spChg chg="mod">
          <ac:chgData name="Pierre CHAVANNE" userId="2e2e2412-eb49-4787-bd3d-d17adeb25e11" providerId="ADAL" clId="{8E769656-82DF-4740-BA14-9D4801EE0342}" dt="2023-12-11T15:00:28.030" v="11048" actId="20577"/>
          <ac:spMkLst>
            <pc:docMk/>
            <pc:sldMk cId="2179127919" sldId="343"/>
            <ac:spMk id="10" creationId="{18B9EFBA-7F92-0321-957B-DC732358BF5F}"/>
          </ac:spMkLst>
        </pc:spChg>
        <pc:picChg chg="add mod">
          <ac:chgData name="Pierre CHAVANNE" userId="2e2e2412-eb49-4787-bd3d-d17adeb25e11" providerId="ADAL" clId="{8E769656-82DF-4740-BA14-9D4801EE0342}" dt="2023-12-11T14:59:02.353" v="10984" actId="1076"/>
          <ac:picMkLst>
            <pc:docMk/>
            <pc:sldMk cId="2179127919" sldId="343"/>
            <ac:picMk id="4" creationId="{7C86899E-EA98-5D25-256E-2E98904E585C}"/>
          </ac:picMkLst>
        </pc:picChg>
        <pc:picChg chg="del">
          <ac:chgData name="Pierre CHAVANNE" userId="2e2e2412-eb49-4787-bd3d-d17adeb25e11" providerId="ADAL" clId="{8E769656-82DF-4740-BA14-9D4801EE0342}" dt="2023-12-11T14:57:09.224" v="10981" actId="478"/>
          <ac:picMkLst>
            <pc:docMk/>
            <pc:sldMk cId="2179127919" sldId="343"/>
            <ac:picMk id="34" creationId="{ED999AE7-E13F-C983-CEDF-477B32721CDF}"/>
          </ac:picMkLst>
        </pc:picChg>
      </pc:sldChg>
      <pc:sldChg chg="addSp delSp modSp add mod">
        <pc:chgData name="Pierre CHAVANNE" userId="2e2e2412-eb49-4787-bd3d-d17adeb25e11" providerId="ADAL" clId="{8E769656-82DF-4740-BA14-9D4801EE0342}" dt="2023-12-11T15:06:05.594" v="11108" actId="1076"/>
        <pc:sldMkLst>
          <pc:docMk/>
          <pc:sldMk cId="1018810711" sldId="344"/>
        </pc:sldMkLst>
        <pc:spChg chg="mod">
          <ac:chgData name="Pierre CHAVANNE" userId="2e2e2412-eb49-4787-bd3d-d17adeb25e11" providerId="ADAL" clId="{8E769656-82DF-4740-BA14-9D4801EE0342}" dt="2023-12-11T15:04:29.554" v="11096" actId="20577"/>
          <ac:spMkLst>
            <pc:docMk/>
            <pc:sldMk cId="1018810711" sldId="344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5:04:37.538" v="11101" actId="20577"/>
          <ac:spMkLst>
            <pc:docMk/>
            <pc:sldMk cId="1018810711" sldId="344"/>
            <ac:spMk id="10" creationId="{18B9EFBA-7F92-0321-957B-DC732358BF5F}"/>
          </ac:spMkLst>
        </pc:spChg>
        <pc:picChg chg="del">
          <ac:chgData name="Pierre CHAVANNE" userId="2e2e2412-eb49-4787-bd3d-d17adeb25e11" providerId="ADAL" clId="{8E769656-82DF-4740-BA14-9D4801EE0342}" dt="2023-12-11T15:04:44.256" v="11102" actId="478"/>
          <ac:picMkLst>
            <pc:docMk/>
            <pc:sldMk cId="1018810711" sldId="344"/>
            <ac:picMk id="4" creationId="{7C86899E-EA98-5D25-256E-2E98904E585C}"/>
          </ac:picMkLst>
        </pc:picChg>
        <pc:picChg chg="add mod modCrop">
          <ac:chgData name="Pierre CHAVANNE" userId="2e2e2412-eb49-4787-bd3d-d17adeb25e11" providerId="ADAL" clId="{8E769656-82DF-4740-BA14-9D4801EE0342}" dt="2023-12-11T15:06:05.594" v="11108" actId="1076"/>
          <ac:picMkLst>
            <pc:docMk/>
            <pc:sldMk cId="1018810711" sldId="344"/>
            <ac:picMk id="5" creationId="{185F3A6B-9D1B-E431-443A-F0280BCB4A8A}"/>
          </ac:picMkLst>
        </pc:picChg>
      </pc:sldChg>
      <pc:sldMasterChg chg="delSldLayout">
        <pc:chgData name="Pierre CHAVANNE" userId="2e2e2412-eb49-4787-bd3d-d17adeb25e11" providerId="ADAL" clId="{8E769656-82DF-4740-BA14-9D4801EE0342}" dt="2023-12-11T09:20:32.775" v="105" actId="47"/>
        <pc:sldMasterMkLst>
          <pc:docMk/>
          <pc:sldMasterMk cId="2894504039" sldId="2147483648"/>
        </pc:sldMasterMkLst>
        <pc:sldLayoutChg chg="del">
          <pc:chgData name="Pierre CHAVANNE" userId="2e2e2412-eb49-4787-bd3d-d17adeb25e11" providerId="ADAL" clId="{8E769656-82DF-4740-BA14-9D4801EE0342}" dt="2023-12-11T09:20:32.775" v="105" actId="47"/>
          <pc:sldLayoutMkLst>
            <pc:docMk/>
            <pc:sldMasterMk cId="2894504039" sldId="2147483648"/>
            <pc:sldLayoutMk cId="4273307515" sldId="2147483672"/>
          </pc:sldLayoutMkLst>
        </pc:sldLayoutChg>
      </pc:sldMasterChg>
    </pc:docChg>
  </pc:docChgLst>
  <pc:docChgLst>
    <pc:chgData name="Pierre CHAVANNE" userId="2e2e2412-eb49-4787-bd3d-d17adeb25e11" providerId="ADAL" clId="{785B313A-1377-449B-85BC-3F92DDC48F10}"/>
    <pc:docChg chg="undo custSel addSld delSld modSld sldOrd">
      <pc:chgData name="Pierre CHAVANNE" userId="2e2e2412-eb49-4787-bd3d-d17adeb25e11" providerId="ADAL" clId="{785B313A-1377-449B-85BC-3F92DDC48F10}" dt="2024-02-05T15:10:49.510" v="8036" actId="20577"/>
      <pc:docMkLst>
        <pc:docMk/>
      </pc:docMkLst>
      <pc:sldChg chg="modSp mod">
        <pc:chgData name="Pierre CHAVANNE" userId="2e2e2412-eb49-4787-bd3d-d17adeb25e11" providerId="ADAL" clId="{785B313A-1377-449B-85BC-3F92DDC48F10}" dt="2024-01-24T11:30:26.115" v="7950" actId="20577"/>
        <pc:sldMkLst>
          <pc:docMk/>
          <pc:sldMk cId="4082308843" sldId="262"/>
        </pc:sldMkLst>
        <pc:spChg chg="mod">
          <ac:chgData name="Pierre CHAVANNE" userId="2e2e2412-eb49-4787-bd3d-d17adeb25e11" providerId="ADAL" clId="{785B313A-1377-449B-85BC-3F92DDC48F10}" dt="2024-01-24T11:30:26.115" v="7950" actId="20577"/>
          <ac:spMkLst>
            <pc:docMk/>
            <pc:sldMk cId="4082308843" sldId="262"/>
            <ac:spMk id="4" creationId="{430F12B2-8A30-D6A2-6AC7-ABAE7B02E283}"/>
          </ac:spMkLst>
        </pc:spChg>
      </pc:sldChg>
      <pc:sldChg chg="modSp mod">
        <pc:chgData name="Pierre CHAVANNE" userId="2e2e2412-eb49-4787-bd3d-d17adeb25e11" providerId="ADAL" clId="{785B313A-1377-449B-85BC-3F92DDC48F10}" dt="2024-01-23T17:10:44.206" v="6880" actId="1076"/>
        <pc:sldMkLst>
          <pc:docMk/>
          <pc:sldMk cId="2964386278" sldId="263"/>
        </pc:sldMkLst>
        <pc:spChg chg="mod">
          <ac:chgData name="Pierre CHAVANNE" userId="2e2e2412-eb49-4787-bd3d-d17adeb25e11" providerId="ADAL" clId="{785B313A-1377-449B-85BC-3F92DDC48F10}" dt="2024-01-23T17:10:29.982" v="6867" actId="404"/>
          <ac:spMkLst>
            <pc:docMk/>
            <pc:sldMk cId="2964386278" sldId="263"/>
            <ac:spMk id="2" creationId="{280C2519-8BB3-2F7D-4555-40F725410B11}"/>
          </ac:spMkLst>
        </pc:spChg>
        <pc:spChg chg="mod">
          <ac:chgData name="Pierre CHAVANNE" userId="2e2e2412-eb49-4787-bd3d-d17adeb25e11" providerId="ADAL" clId="{785B313A-1377-449B-85BC-3F92DDC48F10}" dt="2024-01-23T17:10:44.206" v="6880" actId="1076"/>
          <ac:spMkLst>
            <pc:docMk/>
            <pc:sldMk cId="2964386278" sldId="263"/>
            <ac:spMk id="3" creationId="{26BAED19-711E-BEB5-8E19-FB66663AC2AB}"/>
          </ac:spMkLst>
        </pc:spChg>
        <pc:picChg chg="mod">
          <ac:chgData name="Pierre CHAVANNE" userId="2e2e2412-eb49-4787-bd3d-d17adeb25e11" providerId="ADAL" clId="{785B313A-1377-449B-85BC-3F92DDC48F10}" dt="2024-01-23T14:28:37.175" v="4579" actId="1076"/>
          <ac:picMkLst>
            <pc:docMk/>
            <pc:sldMk cId="2964386278" sldId="263"/>
            <ac:picMk id="12" creationId="{D292E5C9-5A15-B9AB-9DF3-5734DB7FFA03}"/>
          </ac:picMkLst>
        </pc:picChg>
      </pc:sldChg>
      <pc:sldChg chg="addSp delSp modSp mod">
        <pc:chgData name="Pierre CHAVANNE" userId="2e2e2412-eb49-4787-bd3d-d17adeb25e11" providerId="ADAL" clId="{785B313A-1377-449B-85BC-3F92DDC48F10}" dt="2024-01-24T08:45:53.935" v="6910" actId="20577"/>
        <pc:sldMkLst>
          <pc:docMk/>
          <pc:sldMk cId="181288734" sldId="264"/>
        </pc:sldMkLst>
        <pc:spChg chg="del mod">
          <ac:chgData name="Pierre CHAVANNE" userId="2e2e2412-eb49-4787-bd3d-d17adeb25e11" providerId="ADAL" clId="{785B313A-1377-449B-85BC-3F92DDC48F10}" dt="2024-01-23T10:01:09.359" v="2307" actId="478"/>
          <ac:spMkLst>
            <pc:docMk/>
            <pc:sldMk cId="181288734" sldId="264"/>
            <ac:spMk id="2" creationId="{E52B8373-62D1-544B-7A5C-41B622D6A38F}"/>
          </ac:spMkLst>
        </pc:spChg>
        <pc:spChg chg="mod">
          <ac:chgData name="Pierre CHAVANNE" userId="2e2e2412-eb49-4787-bd3d-d17adeb25e11" providerId="ADAL" clId="{785B313A-1377-449B-85BC-3F92DDC48F10}" dt="2024-01-24T08:45:53.935" v="6910" actId="20577"/>
          <ac:spMkLst>
            <pc:docMk/>
            <pc:sldMk cId="181288734" sldId="264"/>
            <ac:spMk id="4" creationId="{430F12B2-8A30-D6A2-6AC7-ABAE7B02E283}"/>
          </ac:spMkLst>
        </pc:spChg>
        <pc:spChg chg="add del mod">
          <ac:chgData name="Pierre CHAVANNE" userId="2e2e2412-eb49-4787-bd3d-d17adeb25e11" providerId="ADAL" clId="{785B313A-1377-449B-85BC-3F92DDC48F10}" dt="2024-01-23T10:01:10.613" v="2308" actId="478"/>
          <ac:spMkLst>
            <pc:docMk/>
            <pc:sldMk cId="181288734" sldId="264"/>
            <ac:spMk id="7" creationId="{2F81E413-AF15-F7E8-A6AC-D6571FCE60D0}"/>
          </ac:spMkLst>
        </pc:spChg>
        <pc:graphicFrameChg chg="add del mod modGraphic">
          <ac:chgData name="Pierre CHAVANNE" userId="2e2e2412-eb49-4787-bd3d-d17adeb25e11" providerId="ADAL" clId="{785B313A-1377-449B-85BC-3F92DDC48F10}" dt="2024-01-23T09:58:56.204" v="2209" actId="478"/>
          <ac:graphicFrameMkLst>
            <pc:docMk/>
            <pc:sldMk cId="181288734" sldId="264"/>
            <ac:graphicFrameMk id="3" creationId="{3C2197D8-1B9B-FA8D-F673-4D3B269A6988}"/>
          </ac:graphicFrameMkLst>
        </pc:graphicFrameChg>
      </pc:sldChg>
      <pc:sldChg chg="modSp del mod">
        <pc:chgData name="Pierre CHAVANNE" userId="2e2e2412-eb49-4787-bd3d-d17adeb25e11" providerId="ADAL" clId="{785B313A-1377-449B-85BC-3F92DDC48F10}" dt="2024-01-19T16:15:43.686" v="708" actId="47"/>
        <pc:sldMkLst>
          <pc:docMk/>
          <pc:sldMk cId="67575323" sldId="265"/>
        </pc:sldMkLst>
        <pc:spChg chg="mod">
          <ac:chgData name="Pierre CHAVANNE" userId="2e2e2412-eb49-4787-bd3d-d17adeb25e11" providerId="ADAL" clId="{785B313A-1377-449B-85BC-3F92DDC48F10}" dt="2024-01-19T16:12:33.659" v="534" actId="14100"/>
          <ac:spMkLst>
            <pc:docMk/>
            <pc:sldMk cId="67575323" sldId="265"/>
            <ac:spMk id="2" creationId="{E52B8373-62D1-544B-7A5C-41B622D6A38F}"/>
          </ac:spMkLst>
        </pc:spChg>
      </pc:sldChg>
      <pc:sldChg chg="del">
        <pc:chgData name="Pierre CHAVANNE" userId="2e2e2412-eb49-4787-bd3d-d17adeb25e11" providerId="ADAL" clId="{785B313A-1377-449B-85BC-3F92DDC48F10}" dt="2024-01-19T16:15:43.793" v="709" actId="47"/>
        <pc:sldMkLst>
          <pc:docMk/>
          <pc:sldMk cId="2725814262" sldId="266"/>
        </pc:sldMkLst>
      </pc:sldChg>
      <pc:sldChg chg="del">
        <pc:chgData name="Pierre CHAVANNE" userId="2e2e2412-eb49-4787-bd3d-d17adeb25e11" providerId="ADAL" clId="{785B313A-1377-449B-85BC-3F92DDC48F10}" dt="2024-01-19T16:15:44.337" v="710" actId="47"/>
        <pc:sldMkLst>
          <pc:docMk/>
          <pc:sldMk cId="4238583254" sldId="267"/>
        </pc:sldMkLst>
      </pc:sldChg>
      <pc:sldChg chg="modSp del mod ord">
        <pc:chgData name="Pierre CHAVANNE" userId="2e2e2412-eb49-4787-bd3d-d17adeb25e11" providerId="ADAL" clId="{785B313A-1377-449B-85BC-3F92DDC48F10}" dt="2024-01-19T16:17:02.116" v="837" actId="47"/>
        <pc:sldMkLst>
          <pc:docMk/>
          <pc:sldMk cId="2357043671" sldId="268"/>
        </pc:sldMkLst>
        <pc:spChg chg="mod">
          <ac:chgData name="Pierre CHAVANNE" userId="2e2e2412-eb49-4787-bd3d-d17adeb25e11" providerId="ADAL" clId="{785B313A-1377-449B-85BC-3F92DDC48F10}" dt="2024-01-19T16:04:01.340" v="169" actId="20577"/>
          <ac:spMkLst>
            <pc:docMk/>
            <pc:sldMk cId="2357043671" sldId="268"/>
            <ac:spMk id="8" creationId="{2F9FB4FF-81EC-1CDC-52DE-524663965391}"/>
          </ac:spMkLst>
        </pc:spChg>
      </pc:sldChg>
      <pc:sldChg chg="del">
        <pc:chgData name="Pierre CHAVANNE" userId="2e2e2412-eb49-4787-bd3d-d17adeb25e11" providerId="ADAL" clId="{785B313A-1377-449B-85BC-3F92DDC48F10}" dt="2024-01-19T16:15:50.321" v="714" actId="47"/>
        <pc:sldMkLst>
          <pc:docMk/>
          <pc:sldMk cId="2486415949" sldId="269"/>
        </pc:sldMkLst>
      </pc:sldChg>
      <pc:sldChg chg="del">
        <pc:chgData name="Pierre CHAVANNE" userId="2e2e2412-eb49-4787-bd3d-d17adeb25e11" providerId="ADAL" clId="{785B313A-1377-449B-85BC-3F92DDC48F10}" dt="2024-01-19T16:15:44.653" v="712" actId="47"/>
        <pc:sldMkLst>
          <pc:docMk/>
          <pc:sldMk cId="3672889325" sldId="270"/>
        </pc:sldMkLst>
      </pc:sldChg>
      <pc:sldChg chg="del">
        <pc:chgData name="Pierre CHAVANNE" userId="2e2e2412-eb49-4787-bd3d-d17adeb25e11" providerId="ADAL" clId="{785B313A-1377-449B-85BC-3F92DDC48F10}" dt="2024-01-19T16:15:48.656" v="713" actId="47"/>
        <pc:sldMkLst>
          <pc:docMk/>
          <pc:sldMk cId="4144618837" sldId="271"/>
        </pc:sldMkLst>
      </pc:sldChg>
      <pc:sldChg chg="del">
        <pc:chgData name="Pierre CHAVANNE" userId="2e2e2412-eb49-4787-bd3d-d17adeb25e11" providerId="ADAL" clId="{785B313A-1377-449B-85BC-3F92DDC48F10}" dt="2024-01-19T16:15:44.500" v="711" actId="47"/>
        <pc:sldMkLst>
          <pc:docMk/>
          <pc:sldMk cId="499594855" sldId="272"/>
        </pc:sldMkLst>
      </pc:sldChg>
      <pc:sldChg chg="del">
        <pc:chgData name="Pierre CHAVANNE" userId="2e2e2412-eb49-4787-bd3d-d17adeb25e11" providerId="ADAL" clId="{785B313A-1377-449B-85BC-3F92DDC48F10}" dt="2024-01-19T16:15:51.736" v="716" actId="47"/>
        <pc:sldMkLst>
          <pc:docMk/>
          <pc:sldMk cId="298777523" sldId="275"/>
        </pc:sldMkLst>
      </pc:sldChg>
      <pc:sldChg chg="del">
        <pc:chgData name="Pierre CHAVANNE" userId="2e2e2412-eb49-4787-bd3d-d17adeb25e11" providerId="ADAL" clId="{785B313A-1377-449B-85BC-3F92DDC48F10}" dt="2024-01-19T16:15:52.134" v="717" actId="47"/>
        <pc:sldMkLst>
          <pc:docMk/>
          <pc:sldMk cId="1172579897" sldId="276"/>
        </pc:sldMkLst>
      </pc:sldChg>
      <pc:sldChg chg="del">
        <pc:chgData name="Pierre CHAVANNE" userId="2e2e2412-eb49-4787-bd3d-d17adeb25e11" providerId="ADAL" clId="{785B313A-1377-449B-85BC-3F92DDC48F10}" dt="2024-01-19T16:15:52.420" v="718" actId="47"/>
        <pc:sldMkLst>
          <pc:docMk/>
          <pc:sldMk cId="3913948229" sldId="277"/>
        </pc:sldMkLst>
      </pc:sldChg>
      <pc:sldChg chg="del">
        <pc:chgData name="Pierre CHAVANNE" userId="2e2e2412-eb49-4787-bd3d-d17adeb25e11" providerId="ADAL" clId="{785B313A-1377-449B-85BC-3F92DDC48F10}" dt="2024-01-19T16:15:52.754" v="719" actId="47"/>
        <pc:sldMkLst>
          <pc:docMk/>
          <pc:sldMk cId="255627525" sldId="278"/>
        </pc:sldMkLst>
      </pc:sldChg>
      <pc:sldChg chg="del">
        <pc:chgData name="Pierre CHAVANNE" userId="2e2e2412-eb49-4787-bd3d-d17adeb25e11" providerId="ADAL" clId="{785B313A-1377-449B-85BC-3F92DDC48F10}" dt="2024-01-19T16:15:52.985" v="720" actId="47"/>
        <pc:sldMkLst>
          <pc:docMk/>
          <pc:sldMk cId="2495300835" sldId="279"/>
        </pc:sldMkLst>
      </pc:sldChg>
      <pc:sldChg chg="del">
        <pc:chgData name="Pierre CHAVANNE" userId="2e2e2412-eb49-4787-bd3d-d17adeb25e11" providerId="ADAL" clId="{785B313A-1377-449B-85BC-3F92DDC48F10}" dt="2024-01-19T16:15:53.295" v="721" actId="47"/>
        <pc:sldMkLst>
          <pc:docMk/>
          <pc:sldMk cId="39061736" sldId="280"/>
        </pc:sldMkLst>
      </pc:sldChg>
      <pc:sldChg chg="del">
        <pc:chgData name="Pierre CHAVANNE" userId="2e2e2412-eb49-4787-bd3d-d17adeb25e11" providerId="ADAL" clId="{785B313A-1377-449B-85BC-3F92DDC48F10}" dt="2024-01-19T16:15:53.502" v="722" actId="47"/>
        <pc:sldMkLst>
          <pc:docMk/>
          <pc:sldMk cId="968674742" sldId="281"/>
        </pc:sldMkLst>
      </pc:sldChg>
      <pc:sldChg chg="del">
        <pc:chgData name="Pierre CHAVANNE" userId="2e2e2412-eb49-4787-bd3d-d17adeb25e11" providerId="ADAL" clId="{785B313A-1377-449B-85BC-3F92DDC48F10}" dt="2024-01-19T16:15:53.837" v="723" actId="47"/>
        <pc:sldMkLst>
          <pc:docMk/>
          <pc:sldMk cId="145152880" sldId="282"/>
        </pc:sldMkLst>
      </pc:sldChg>
      <pc:sldChg chg="del">
        <pc:chgData name="Pierre CHAVANNE" userId="2e2e2412-eb49-4787-bd3d-d17adeb25e11" providerId="ADAL" clId="{785B313A-1377-449B-85BC-3F92DDC48F10}" dt="2024-01-19T16:15:54.037" v="724" actId="47"/>
        <pc:sldMkLst>
          <pc:docMk/>
          <pc:sldMk cId="2422762125" sldId="283"/>
        </pc:sldMkLst>
      </pc:sldChg>
      <pc:sldChg chg="del">
        <pc:chgData name="Pierre CHAVANNE" userId="2e2e2412-eb49-4787-bd3d-d17adeb25e11" providerId="ADAL" clId="{785B313A-1377-449B-85BC-3F92DDC48F10}" dt="2024-01-19T16:15:55.904" v="731" actId="47"/>
        <pc:sldMkLst>
          <pc:docMk/>
          <pc:sldMk cId="2982571789" sldId="288"/>
        </pc:sldMkLst>
      </pc:sldChg>
      <pc:sldChg chg="del">
        <pc:chgData name="Pierre CHAVANNE" userId="2e2e2412-eb49-4787-bd3d-d17adeb25e11" providerId="ADAL" clId="{785B313A-1377-449B-85BC-3F92DDC48F10}" dt="2024-01-19T16:16:00.287" v="753" actId="47"/>
        <pc:sldMkLst>
          <pc:docMk/>
          <pc:sldMk cId="1004113706" sldId="309"/>
        </pc:sldMkLst>
      </pc:sldChg>
      <pc:sldChg chg="add del ord">
        <pc:chgData name="Pierre CHAVANNE" userId="2e2e2412-eb49-4787-bd3d-d17adeb25e11" providerId="ADAL" clId="{785B313A-1377-449B-85BC-3F92DDC48F10}" dt="2024-01-23T17:09:55.857" v="6833" actId="47"/>
        <pc:sldMkLst>
          <pc:docMk/>
          <pc:sldMk cId="2745529957" sldId="311"/>
        </pc:sldMkLst>
      </pc:sldChg>
      <pc:sldChg chg="del">
        <pc:chgData name="Pierre CHAVANNE" userId="2e2e2412-eb49-4787-bd3d-d17adeb25e11" providerId="ADAL" clId="{785B313A-1377-449B-85BC-3F92DDC48F10}" dt="2024-01-19T16:15:51.354" v="715" actId="47"/>
        <pc:sldMkLst>
          <pc:docMk/>
          <pc:sldMk cId="160292422" sldId="313"/>
        </pc:sldMkLst>
      </pc:sldChg>
      <pc:sldChg chg="del">
        <pc:chgData name="Pierre CHAVANNE" userId="2e2e2412-eb49-4787-bd3d-d17adeb25e11" providerId="ADAL" clId="{785B313A-1377-449B-85BC-3F92DDC48F10}" dt="2024-01-19T16:15:56.787" v="734" actId="47"/>
        <pc:sldMkLst>
          <pc:docMk/>
          <pc:sldMk cId="3368016770" sldId="314"/>
        </pc:sldMkLst>
      </pc:sldChg>
      <pc:sldChg chg="del">
        <pc:chgData name="Pierre CHAVANNE" userId="2e2e2412-eb49-4787-bd3d-d17adeb25e11" providerId="ADAL" clId="{785B313A-1377-449B-85BC-3F92DDC48F10}" dt="2024-01-19T16:15:54.475" v="726" actId="47"/>
        <pc:sldMkLst>
          <pc:docMk/>
          <pc:sldMk cId="2249207064" sldId="319"/>
        </pc:sldMkLst>
      </pc:sldChg>
      <pc:sldChg chg="del">
        <pc:chgData name="Pierre CHAVANNE" userId="2e2e2412-eb49-4787-bd3d-d17adeb25e11" providerId="ADAL" clId="{785B313A-1377-449B-85BC-3F92DDC48F10}" dt="2024-01-19T16:15:54.654" v="727" actId="47"/>
        <pc:sldMkLst>
          <pc:docMk/>
          <pc:sldMk cId="595425293" sldId="320"/>
        </pc:sldMkLst>
      </pc:sldChg>
      <pc:sldChg chg="del">
        <pc:chgData name="Pierre CHAVANNE" userId="2e2e2412-eb49-4787-bd3d-d17adeb25e11" providerId="ADAL" clId="{785B313A-1377-449B-85BC-3F92DDC48F10}" dt="2024-01-19T16:15:54.870" v="728" actId="47"/>
        <pc:sldMkLst>
          <pc:docMk/>
          <pc:sldMk cId="304592153" sldId="321"/>
        </pc:sldMkLst>
      </pc:sldChg>
      <pc:sldChg chg="del">
        <pc:chgData name="Pierre CHAVANNE" userId="2e2e2412-eb49-4787-bd3d-d17adeb25e11" providerId="ADAL" clId="{785B313A-1377-449B-85BC-3F92DDC48F10}" dt="2024-01-19T16:15:55.085" v="729" actId="47"/>
        <pc:sldMkLst>
          <pc:docMk/>
          <pc:sldMk cId="219234302" sldId="322"/>
        </pc:sldMkLst>
      </pc:sldChg>
      <pc:sldChg chg="del">
        <pc:chgData name="Pierre CHAVANNE" userId="2e2e2412-eb49-4787-bd3d-d17adeb25e11" providerId="ADAL" clId="{785B313A-1377-449B-85BC-3F92DDC48F10}" dt="2024-01-19T16:15:56.042" v="732" actId="47"/>
        <pc:sldMkLst>
          <pc:docMk/>
          <pc:sldMk cId="2955322825" sldId="323"/>
        </pc:sldMkLst>
      </pc:sldChg>
      <pc:sldChg chg="del">
        <pc:chgData name="Pierre CHAVANNE" userId="2e2e2412-eb49-4787-bd3d-d17adeb25e11" providerId="ADAL" clId="{785B313A-1377-449B-85BC-3F92DDC48F10}" dt="2024-01-19T16:15:56.189" v="733" actId="47"/>
        <pc:sldMkLst>
          <pc:docMk/>
          <pc:sldMk cId="3873716323" sldId="324"/>
        </pc:sldMkLst>
      </pc:sldChg>
      <pc:sldChg chg="del">
        <pc:chgData name="Pierre CHAVANNE" userId="2e2e2412-eb49-4787-bd3d-d17adeb25e11" providerId="ADAL" clId="{785B313A-1377-449B-85BC-3F92DDC48F10}" dt="2024-01-19T16:15:54.254" v="725" actId="47"/>
        <pc:sldMkLst>
          <pc:docMk/>
          <pc:sldMk cId="2450472586" sldId="325"/>
        </pc:sldMkLst>
      </pc:sldChg>
      <pc:sldChg chg="del">
        <pc:chgData name="Pierre CHAVANNE" userId="2e2e2412-eb49-4787-bd3d-d17adeb25e11" providerId="ADAL" clId="{785B313A-1377-449B-85BC-3F92DDC48F10}" dt="2024-01-19T16:15:56.928" v="735" actId="47"/>
        <pc:sldMkLst>
          <pc:docMk/>
          <pc:sldMk cId="2789460190" sldId="326"/>
        </pc:sldMkLst>
      </pc:sldChg>
      <pc:sldChg chg="del">
        <pc:chgData name="Pierre CHAVANNE" userId="2e2e2412-eb49-4787-bd3d-d17adeb25e11" providerId="ADAL" clId="{785B313A-1377-449B-85BC-3F92DDC48F10}" dt="2024-01-19T16:15:57.129" v="736" actId="47"/>
        <pc:sldMkLst>
          <pc:docMk/>
          <pc:sldMk cId="651240368" sldId="327"/>
        </pc:sldMkLst>
      </pc:sldChg>
      <pc:sldChg chg="del">
        <pc:chgData name="Pierre CHAVANNE" userId="2e2e2412-eb49-4787-bd3d-d17adeb25e11" providerId="ADAL" clId="{785B313A-1377-449B-85BC-3F92DDC48F10}" dt="2024-01-19T16:15:57.670" v="737" actId="47"/>
        <pc:sldMkLst>
          <pc:docMk/>
          <pc:sldMk cId="4050209955" sldId="328"/>
        </pc:sldMkLst>
      </pc:sldChg>
      <pc:sldChg chg="del">
        <pc:chgData name="Pierre CHAVANNE" userId="2e2e2412-eb49-4787-bd3d-d17adeb25e11" providerId="ADAL" clId="{785B313A-1377-449B-85BC-3F92DDC48F10}" dt="2024-01-19T16:15:57.995" v="738" actId="47"/>
        <pc:sldMkLst>
          <pc:docMk/>
          <pc:sldMk cId="1618847890" sldId="329"/>
        </pc:sldMkLst>
      </pc:sldChg>
      <pc:sldChg chg="del">
        <pc:chgData name="Pierre CHAVANNE" userId="2e2e2412-eb49-4787-bd3d-d17adeb25e11" providerId="ADAL" clId="{785B313A-1377-449B-85BC-3F92DDC48F10}" dt="2024-01-19T16:15:58.101" v="739" actId="47"/>
        <pc:sldMkLst>
          <pc:docMk/>
          <pc:sldMk cId="1072247607" sldId="330"/>
        </pc:sldMkLst>
      </pc:sldChg>
      <pc:sldChg chg="del">
        <pc:chgData name="Pierre CHAVANNE" userId="2e2e2412-eb49-4787-bd3d-d17adeb25e11" providerId="ADAL" clId="{785B313A-1377-449B-85BC-3F92DDC48F10}" dt="2024-01-19T16:15:58.286" v="740" actId="47"/>
        <pc:sldMkLst>
          <pc:docMk/>
          <pc:sldMk cId="184226453" sldId="331"/>
        </pc:sldMkLst>
      </pc:sldChg>
      <pc:sldChg chg="del">
        <pc:chgData name="Pierre CHAVANNE" userId="2e2e2412-eb49-4787-bd3d-d17adeb25e11" providerId="ADAL" clId="{785B313A-1377-449B-85BC-3F92DDC48F10}" dt="2024-01-19T16:15:58.386" v="741" actId="47"/>
        <pc:sldMkLst>
          <pc:docMk/>
          <pc:sldMk cId="1974310555" sldId="332"/>
        </pc:sldMkLst>
      </pc:sldChg>
      <pc:sldChg chg="del">
        <pc:chgData name="Pierre CHAVANNE" userId="2e2e2412-eb49-4787-bd3d-d17adeb25e11" providerId="ADAL" clId="{785B313A-1377-449B-85BC-3F92DDC48F10}" dt="2024-01-19T16:15:58.585" v="742" actId="47"/>
        <pc:sldMkLst>
          <pc:docMk/>
          <pc:sldMk cId="1673591059" sldId="333"/>
        </pc:sldMkLst>
      </pc:sldChg>
      <pc:sldChg chg="del">
        <pc:chgData name="Pierre CHAVANNE" userId="2e2e2412-eb49-4787-bd3d-d17adeb25e11" providerId="ADAL" clId="{785B313A-1377-449B-85BC-3F92DDC48F10}" dt="2024-01-19T16:15:58.736" v="743" actId="47"/>
        <pc:sldMkLst>
          <pc:docMk/>
          <pc:sldMk cId="3056355830" sldId="334"/>
        </pc:sldMkLst>
      </pc:sldChg>
      <pc:sldChg chg="del">
        <pc:chgData name="Pierre CHAVANNE" userId="2e2e2412-eb49-4787-bd3d-d17adeb25e11" providerId="ADAL" clId="{785B313A-1377-449B-85BC-3F92DDC48F10}" dt="2024-01-19T16:15:58.887" v="744" actId="47"/>
        <pc:sldMkLst>
          <pc:docMk/>
          <pc:sldMk cId="3121028424" sldId="335"/>
        </pc:sldMkLst>
      </pc:sldChg>
      <pc:sldChg chg="del">
        <pc:chgData name="Pierre CHAVANNE" userId="2e2e2412-eb49-4787-bd3d-d17adeb25e11" providerId="ADAL" clId="{785B313A-1377-449B-85BC-3F92DDC48F10}" dt="2024-01-19T16:15:59.062" v="745" actId="47"/>
        <pc:sldMkLst>
          <pc:docMk/>
          <pc:sldMk cId="3966347907" sldId="336"/>
        </pc:sldMkLst>
      </pc:sldChg>
      <pc:sldChg chg="del">
        <pc:chgData name="Pierre CHAVANNE" userId="2e2e2412-eb49-4787-bd3d-d17adeb25e11" providerId="ADAL" clId="{785B313A-1377-449B-85BC-3F92DDC48F10}" dt="2024-01-19T16:15:59.520" v="748" actId="47"/>
        <pc:sldMkLst>
          <pc:docMk/>
          <pc:sldMk cId="96396930" sldId="337"/>
        </pc:sldMkLst>
      </pc:sldChg>
      <pc:sldChg chg="del">
        <pc:chgData name="Pierre CHAVANNE" userId="2e2e2412-eb49-4787-bd3d-d17adeb25e11" providerId="ADAL" clId="{785B313A-1377-449B-85BC-3F92DDC48F10}" dt="2024-01-19T16:15:59.188" v="746" actId="47"/>
        <pc:sldMkLst>
          <pc:docMk/>
          <pc:sldMk cId="2969756454" sldId="338"/>
        </pc:sldMkLst>
      </pc:sldChg>
      <pc:sldChg chg="del">
        <pc:chgData name="Pierre CHAVANNE" userId="2e2e2412-eb49-4787-bd3d-d17adeb25e11" providerId="ADAL" clId="{785B313A-1377-449B-85BC-3F92DDC48F10}" dt="2024-01-19T16:15:59.342" v="747" actId="47"/>
        <pc:sldMkLst>
          <pc:docMk/>
          <pc:sldMk cId="3712497180" sldId="339"/>
        </pc:sldMkLst>
      </pc:sldChg>
      <pc:sldChg chg="del">
        <pc:chgData name="Pierre CHAVANNE" userId="2e2e2412-eb49-4787-bd3d-d17adeb25e11" providerId="ADAL" clId="{785B313A-1377-449B-85BC-3F92DDC48F10}" dt="2024-01-19T16:15:59.843" v="750" actId="47"/>
        <pc:sldMkLst>
          <pc:docMk/>
          <pc:sldMk cId="2553264670" sldId="340"/>
        </pc:sldMkLst>
      </pc:sldChg>
      <pc:sldChg chg="del">
        <pc:chgData name="Pierre CHAVANNE" userId="2e2e2412-eb49-4787-bd3d-d17adeb25e11" providerId="ADAL" clId="{785B313A-1377-449B-85BC-3F92DDC48F10}" dt="2024-01-19T16:15:59.953" v="751" actId="47"/>
        <pc:sldMkLst>
          <pc:docMk/>
          <pc:sldMk cId="159668005" sldId="341"/>
        </pc:sldMkLst>
      </pc:sldChg>
      <pc:sldChg chg="del">
        <pc:chgData name="Pierre CHAVANNE" userId="2e2e2412-eb49-4787-bd3d-d17adeb25e11" providerId="ADAL" clId="{785B313A-1377-449B-85BC-3F92DDC48F10}" dt="2024-01-19T16:16:00.104" v="752" actId="47"/>
        <pc:sldMkLst>
          <pc:docMk/>
          <pc:sldMk cId="288494447" sldId="342"/>
        </pc:sldMkLst>
      </pc:sldChg>
      <pc:sldChg chg="del">
        <pc:chgData name="Pierre CHAVANNE" userId="2e2e2412-eb49-4787-bd3d-d17adeb25e11" providerId="ADAL" clId="{785B313A-1377-449B-85BC-3F92DDC48F10}" dt="2024-01-19T16:15:55.688" v="730" actId="47"/>
        <pc:sldMkLst>
          <pc:docMk/>
          <pc:sldMk cId="2179127919" sldId="343"/>
        </pc:sldMkLst>
      </pc:sldChg>
      <pc:sldChg chg="del">
        <pc:chgData name="Pierre CHAVANNE" userId="2e2e2412-eb49-4787-bd3d-d17adeb25e11" providerId="ADAL" clId="{785B313A-1377-449B-85BC-3F92DDC48F10}" dt="2024-01-19T16:15:59.658" v="749" actId="47"/>
        <pc:sldMkLst>
          <pc:docMk/>
          <pc:sldMk cId="1018810711" sldId="344"/>
        </pc:sldMkLst>
      </pc:sldChg>
      <pc:sldChg chg="addSp delSp modSp add mod ord">
        <pc:chgData name="Pierre CHAVANNE" userId="2e2e2412-eb49-4787-bd3d-d17adeb25e11" providerId="ADAL" clId="{785B313A-1377-449B-85BC-3F92DDC48F10}" dt="2024-01-24T08:49:18.359" v="6912" actId="20577"/>
        <pc:sldMkLst>
          <pc:docMk/>
          <pc:sldMk cId="3009670697" sldId="345"/>
        </pc:sldMkLst>
        <pc:spChg chg="mod">
          <ac:chgData name="Pierre CHAVANNE" userId="2e2e2412-eb49-4787-bd3d-d17adeb25e11" providerId="ADAL" clId="{785B313A-1377-449B-85BC-3F92DDC48F10}" dt="2024-01-23T17:09:33.731" v="6812" actId="6549"/>
          <ac:spMkLst>
            <pc:docMk/>
            <pc:sldMk cId="3009670697" sldId="345"/>
            <ac:spMk id="2" creationId="{E52B8373-62D1-544B-7A5C-41B622D6A38F}"/>
          </ac:spMkLst>
        </pc:spChg>
        <pc:spChg chg="mod">
          <ac:chgData name="Pierre CHAVANNE" userId="2e2e2412-eb49-4787-bd3d-d17adeb25e11" providerId="ADAL" clId="{785B313A-1377-449B-85BC-3F92DDC48F10}" dt="2024-01-24T08:49:18.359" v="6912" actId="20577"/>
          <ac:spMkLst>
            <pc:docMk/>
            <pc:sldMk cId="3009670697" sldId="345"/>
            <ac:spMk id="4" creationId="{430F12B2-8A30-D6A2-6AC7-ABAE7B02E283}"/>
          </ac:spMkLst>
        </pc:spChg>
        <pc:graphicFrameChg chg="add mod modGraphic">
          <ac:chgData name="Pierre CHAVANNE" userId="2e2e2412-eb49-4787-bd3d-d17adeb25e11" providerId="ADAL" clId="{785B313A-1377-449B-85BC-3F92DDC48F10}" dt="2024-01-23T15:48:14.892" v="5686" actId="1076"/>
          <ac:graphicFrameMkLst>
            <pc:docMk/>
            <pc:sldMk cId="3009670697" sldId="345"/>
            <ac:graphicFrameMk id="3" creationId="{260BD59A-2BE9-D45D-5F46-BCFAC1309380}"/>
          </ac:graphicFrameMkLst>
        </pc:graphicFrameChg>
        <pc:graphicFrameChg chg="del">
          <ac:chgData name="Pierre CHAVANNE" userId="2e2e2412-eb49-4787-bd3d-d17adeb25e11" providerId="ADAL" clId="{785B313A-1377-449B-85BC-3F92DDC48F10}" dt="2024-01-19T16:13:33.157" v="556" actId="478"/>
          <ac:graphicFrameMkLst>
            <pc:docMk/>
            <pc:sldMk cId="3009670697" sldId="345"/>
            <ac:graphicFrameMk id="3" creationId="{3C2197D8-1B9B-FA8D-F673-4D3B269A6988}"/>
          </ac:graphicFrameMkLst>
        </pc:graphicFrameChg>
        <pc:picChg chg="add mod modCrop">
          <ac:chgData name="Pierre CHAVANNE" userId="2e2e2412-eb49-4787-bd3d-d17adeb25e11" providerId="ADAL" clId="{785B313A-1377-449B-85BC-3F92DDC48F10}" dt="2024-01-23T09:59:58.520" v="2248" actId="1076"/>
          <ac:picMkLst>
            <pc:docMk/>
            <pc:sldMk cId="3009670697" sldId="345"/>
            <ac:picMk id="7" creationId="{9EE90239-B66A-07AF-ADDE-5A9A068B4357}"/>
          </ac:picMkLst>
        </pc:picChg>
      </pc:sldChg>
      <pc:sldChg chg="addSp modSp add mod">
        <pc:chgData name="Pierre CHAVANNE" userId="2e2e2412-eb49-4787-bd3d-d17adeb25e11" providerId="ADAL" clId="{785B313A-1377-449B-85BC-3F92DDC48F10}" dt="2024-01-24T08:39:14.910" v="6888" actId="1076"/>
        <pc:sldMkLst>
          <pc:docMk/>
          <pc:sldMk cId="3556691415" sldId="346"/>
        </pc:sldMkLst>
        <pc:spChg chg="mod">
          <ac:chgData name="Pierre CHAVANNE" userId="2e2e2412-eb49-4787-bd3d-d17adeb25e11" providerId="ADAL" clId="{785B313A-1377-449B-85BC-3F92DDC48F10}" dt="2024-01-23T14:24:02.898" v="4386" actId="20577"/>
          <ac:spMkLst>
            <pc:docMk/>
            <pc:sldMk cId="3556691415" sldId="346"/>
            <ac:spMk id="2" creationId="{E52B8373-62D1-544B-7A5C-41B622D6A38F}"/>
          </ac:spMkLst>
        </pc:spChg>
        <pc:spChg chg="mod">
          <ac:chgData name="Pierre CHAVANNE" userId="2e2e2412-eb49-4787-bd3d-d17adeb25e11" providerId="ADAL" clId="{785B313A-1377-449B-85BC-3F92DDC48F10}" dt="2024-01-24T08:39:09.711" v="6886" actId="1076"/>
          <ac:spMkLst>
            <pc:docMk/>
            <pc:sldMk cId="3556691415" sldId="346"/>
            <ac:spMk id="4" creationId="{430F12B2-8A30-D6A2-6AC7-ABAE7B02E283}"/>
          </ac:spMkLst>
        </pc:spChg>
        <pc:picChg chg="add mod">
          <ac:chgData name="Pierre CHAVANNE" userId="2e2e2412-eb49-4787-bd3d-d17adeb25e11" providerId="ADAL" clId="{785B313A-1377-449B-85BC-3F92DDC48F10}" dt="2024-01-24T08:39:14.910" v="6888" actId="1076"/>
          <ac:picMkLst>
            <pc:docMk/>
            <pc:sldMk cId="3556691415" sldId="346"/>
            <ac:picMk id="5" creationId="{9F33D193-BE6A-DE62-4270-04469410F8DF}"/>
          </ac:picMkLst>
        </pc:picChg>
      </pc:sldChg>
      <pc:sldChg chg="modSp add mod">
        <pc:chgData name="Pierre CHAVANNE" userId="2e2e2412-eb49-4787-bd3d-d17adeb25e11" providerId="ADAL" clId="{785B313A-1377-449B-85BC-3F92DDC48F10}" dt="2024-01-23T12:45:18.679" v="4200" actId="20577"/>
        <pc:sldMkLst>
          <pc:docMk/>
          <pc:sldMk cId="3390067061" sldId="347"/>
        </pc:sldMkLst>
        <pc:spChg chg="mod">
          <ac:chgData name="Pierre CHAVANNE" userId="2e2e2412-eb49-4787-bd3d-d17adeb25e11" providerId="ADAL" clId="{785B313A-1377-449B-85BC-3F92DDC48F10}" dt="2024-01-19T16:15:09.573" v="688" actId="20577"/>
          <ac:spMkLst>
            <pc:docMk/>
            <pc:sldMk cId="3390067061" sldId="347"/>
            <ac:spMk id="2" creationId="{E52B8373-62D1-544B-7A5C-41B622D6A38F}"/>
          </ac:spMkLst>
        </pc:spChg>
        <pc:spChg chg="mod">
          <ac:chgData name="Pierre CHAVANNE" userId="2e2e2412-eb49-4787-bd3d-d17adeb25e11" providerId="ADAL" clId="{785B313A-1377-449B-85BC-3F92DDC48F10}" dt="2024-01-23T12:45:18.679" v="4200" actId="20577"/>
          <ac:spMkLst>
            <pc:docMk/>
            <pc:sldMk cId="3390067061" sldId="347"/>
            <ac:spMk id="4" creationId="{430F12B2-8A30-D6A2-6AC7-ABAE7B02E283}"/>
          </ac:spMkLst>
        </pc:spChg>
      </pc:sldChg>
      <pc:sldChg chg="addSp delSp modSp add mod">
        <pc:chgData name="Pierre CHAVANNE" userId="2e2e2412-eb49-4787-bd3d-d17adeb25e11" providerId="ADAL" clId="{785B313A-1377-449B-85BC-3F92DDC48F10}" dt="2024-01-23T12:45:28.980" v="4203"/>
        <pc:sldMkLst>
          <pc:docMk/>
          <pc:sldMk cId="277130759" sldId="348"/>
        </pc:sldMkLst>
        <pc:spChg chg="mod">
          <ac:chgData name="Pierre CHAVANNE" userId="2e2e2412-eb49-4787-bd3d-d17adeb25e11" providerId="ADAL" clId="{785B313A-1377-449B-85BC-3F92DDC48F10}" dt="2024-01-19T16:15:21.514" v="702" actId="20577"/>
          <ac:spMkLst>
            <pc:docMk/>
            <pc:sldMk cId="277130759" sldId="348"/>
            <ac:spMk id="2" creationId="{E52B8373-62D1-544B-7A5C-41B622D6A38F}"/>
          </ac:spMkLst>
        </pc:spChg>
        <pc:spChg chg="del">
          <ac:chgData name="Pierre CHAVANNE" userId="2e2e2412-eb49-4787-bd3d-d17adeb25e11" providerId="ADAL" clId="{785B313A-1377-449B-85BC-3F92DDC48F10}" dt="2024-01-23T12:45:26.180" v="4201" actId="478"/>
          <ac:spMkLst>
            <pc:docMk/>
            <pc:sldMk cId="277130759" sldId="348"/>
            <ac:spMk id="4" creationId="{430F12B2-8A30-D6A2-6AC7-ABAE7B02E283}"/>
          </ac:spMkLst>
        </pc:spChg>
        <pc:spChg chg="add del mod">
          <ac:chgData name="Pierre CHAVANNE" userId="2e2e2412-eb49-4787-bd3d-d17adeb25e11" providerId="ADAL" clId="{785B313A-1377-449B-85BC-3F92DDC48F10}" dt="2024-01-23T12:45:28.712" v="4202" actId="478"/>
          <ac:spMkLst>
            <pc:docMk/>
            <pc:sldMk cId="277130759" sldId="348"/>
            <ac:spMk id="5" creationId="{52929389-5D92-77DD-E74E-AF981D3C40E4}"/>
          </ac:spMkLst>
        </pc:spChg>
        <pc:spChg chg="add mod">
          <ac:chgData name="Pierre CHAVANNE" userId="2e2e2412-eb49-4787-bd3d-d17adeb25e11" providerId="ADAL" clId="{785B313A-1377-449B-85BC-3F92DDC48F10}" dt="2024-01-23T12:45:28.980" v="4203"/>
          <ac:spMkLst>
            <pc:docMk/>
            <pc:sldMk cId="277130759" sldId="348"/>
            <ac:spMk id="7" creationId="{26BEDE08-447E-F5B1-C14D-F87FEB0BF9A2}"/>
          </ac:spMkLst>
        </pc:spChg>
      </pc:sldChg>
      <pc:sldChg chg="addSp modSp add mod ord">
        <pc:chgData name="Pierre CHAVANNE" userId="2e2e2412-eb49-4787-bd3d-d17adeb25e11" providerId="ADAL" clId="{785B313A-1377-449B-85BC-3F92DDC48F10}" dt="2024-01-23T16:14:49.066" v="5938" actId="1076"/>
        <pc:sldMkLst>
          <pc:docMk/>
          <pc:sldMk cId="1714316781" sldId="349"/>
        </pc:sldMkLst>
        <pc:spChg chg="mod">
          <ac:chgData name="Pierre CHAVANNE" userId="2e2e2412-eb49-4787-bd3d-d17adeb25e11" providerId="ADAL" clId="{785B313A-1377-449B-85BC-3F92DDC48F10}" dt="2024-01-23T14:32:59.688" v="4610" actId="20577"/>
          <ac:spMkLst>
            <pc:docMk/>
            <pc:sldMk cId="1714316781" sldId="349"/>
            <ac:spMk id="2" creationId="{E52B8373-62D1-544B-7A5C-41B622D6A38F}"/>
          </ac:spMkLst>
        </pc:spChg>
        <pc:spChg chg="add mod">
          <ac:chgData name="Pierre CHAVANNE" userId="2e2e2412-eb49-4787-bd3d-d17adeb25e11" providerId="ADAL" clId="{785B313A-1377-449B-85BC-3F92DDC48F10}" dt="2024-01-23T16:14:18.980" v="5933" actId="1076"/>
          <ac:spMkLst>
            <pc:docMk/>
            <pc:sldMk cId="1714316781" sldId="349"/>
            <ac:spMk id="3" creationId="{AA7CAF7A-0585-6831-84DC-15E8F4C9FB7D}"/>
          </ac:spMkLst>
        </pc:spChg>
        <pc:spChg chg="mod">
          <ac:chgData name="Pierre CHAVANNE" userId="2e2e2412-eb49-4787-bd3d-d17adeb25e11" providerId="ADAL" clId="{785B313A-1377-449B-85BC-3F92DDC48F10}" dt="2024-01-23T16:14:49.066" v="5938" actId="1076"/>
          <ac:spMkLst>
            <pc:docMk/>
            <pc:sldMk cId="1714316781" sldId="349"/>
            <ac:spMk id="4" creationId="{430F12B2-8A30-D6A2-6AC7-ABAE7B02E283}"/>
          </ac:spMkLst>
        </pc:spChg>
        <pc:spChg chg="add mod">
          <ac:chgData name="Pierre CHAVANNE" userId="2e2e2412-eb49-4787-bd3d-d17adeb25e11" providerId="ADAL" clId="{785B313A-1377-449B-85BC-3F92DDC48F10}" dt="2024-01-23T16:14:18.980" v="5933" actId="1076"/>
          <ac:spMkLst>
            <pc:docMk/>
            <pc:sldMk cId="1714316781" sldId="349"/>
            <ac:spMk id="5" creationId="{E1E1F3EE-FA2C-4262-C8D5-745E992EEEE6}"/>
          </ac:spMkLst>
        </pc:spChg>
        <pc:spChg chg="add mod">
          <ac:chgData name="Pierre CHAVANNE" userId="2e2e2412-eb49-4787-bd3d-d17adeb25e11" providerId="ADAL" clId="{785B313A-1377-449B-85BC-3F92DDC48F10}" dt="2024-01-23T16:14:27.582" v="5935" actId="1076"/>
          <ac:spMkLst>
            <pc:docMk/>
            <pc:sldMk cId="1714316781" sldId="349"/>
            <ac:spMk id="7" creationId="{1E330B7F-28FD-FA44-DA35-02BDE5DCBF2C}"/>
          </ac:spMkLst>
        </pc:spChg>
        <pc:spChg chg="add mod">
          <ac:chgData name="Pierre CHAVANNE" userId="2e2e2412-eb49-4787-bd3d-d17adeb25e11" providerId="ADAL" clId="{785B313A-1377-449B-85BC-3F92DDC48F10}" dt="2024-01-23T16:14:36.663" v="5937" actId="1076"/>
          <ac:spMkLst>
            <pc:docMk/>
            <pc:sldMk cId="1714316781" sldId="349"/>
            <ac:spMk id="8" creationId="{C55B637D-3805-AF94-79D9-92B6A83B1CE8}"/>
          </ac:spMkLst>
        </pc:spChg>
        <pc:spChg chg="add mod">
          <ac:chgData name="Pierre CHAVANNE" userId="2e2e2412-eb49-4787-bd3d-d17adeb25e11" providerId="ADAL" clId="{785B313A-1377-449B-85BC-3F92DDC48F10}" dt="2024-01-23T16:14:18.980" v="5933" actId="1076"/>
          <ac:spMkLst>
            <pc:docMk/>
            <pc:sldMk cId="1714316781" sldId="349"/>
            <ac:spMk id="9" creationId="{40CD7FF9-6848-59BF-7106-EB70CF3803F2}"/>
          </ac:spMkLst>
        </pc:spChg>
      </pc:sldChg>
      <pc:sldChg chg="delSp modSp add del mod">
        <pc:chgData name="Pierre CHAVANNE" userId="2e2e2412-eb49-4787-bd3d-d17adeb25e11" providerId="ADAL" clId="{785B313A-1377-449B-85BC-3F92DDC48F10}" dt="2024-01-23T17:08:43.313" v="6689" actId="47"/>
        <pc:sldMkLst>
          <pc:docMk/>
          <pc:sldMk cId="3174316311" sldId="350"/>
        </pc:sldMkLst>
        <pc:spChg chg="mod">
          <ac:chgData name="Pierre CHAVANNE" userId="2e2e2412-eb49-4787-bd3d-d17adeb25e11" providerId="ADAL" clId="{785B313A-1377-449B-85BC-3F92DDC48F10}" dt="2024-01-23T14:25:01.109" v="4480" actId="20577"/>
          <ac:spMkLst>
            <pc:docMk/>
            <pc:sldMk cId="3174316311" sldId="350"/>
            <ac:spMk id="2" creationId="{E52B8373-62D1-544B-7A5C-41B622D6A38F}"/>
          </ac:spMkLst>
        </pc:spChg>
        <pc:spChg chg="mod">
          <ac:chgData name="Pierre CHAVANNE" userId="2e2e2412-eb49-4787-bd3d-d17adeb25e11" providerId="ADAL" clId="{785B313A-1377-449B-85BC-3F92DDC48F10}" dt="2024-01-23T14:25:03.606" v="4483" actId="20577"/>
          <ac:spMkLst>
            <pc:docMk/>
            <pc:sldMk cId="3174316311" sldId="350"/>
            <ac:spMk id="8" creationId="{15A4040C-50A3-5593-AB6E-492E3D6866BA}"/>
          </ac:spMkLst>
        </pc:spChg>
        <pc:picChg chg="del">
          <ac:chgData name="Pierre CHAVANNE" userId="2e2e2412-eb49-4787-bd3d-d17adeb25e11" providerId="ADAL" clId="{785B313A-1377-449B-85BC-3F92DDC48F10}" dt="2024-01-23T14:25:04.776" v="4484" actId="478"/>
          <ac:picMkLst>
            <pc:docMk/>
            <pc:sldMk cId="3174316311" sldId="350"/>
            <ac:picMk id="12" creationId="{57CB0D8F-857D-FD6C-FC26-0976A3D671B6}"/>
          </ac:picMkLst>
        </pc:picChg>
        <pc:picChg chg="del">
          <ac:chgData name="Pierre CHAVANNE" userId="2e2e2412-eb49-4787-bd3d-d17adeb25e11" providerId="ADAL" clId="{785B313A-1377-449B-85BC-3F92DDC48F10}" dt="2024-01-23T14:25:05.310" v="4485" actId="478"/>
          <ac:picMkLst>
            <pc:docMk/>
            <pc:sldMk cId="3174316311" sldId="350"/>
            <ac:picMk id="13" creationId="{DD2F2E39-B36D-7D3D-A07F-F405396398C0}"/>
          </ac:picMkLst>
        </pc:picChg>
        <pc:picChg chg="del mod">
          <ac:chgData name="Pierre CHAVANNE" userId="2e2e2412-eb49-4787-bd3d-d17adeb25e11" providerId="ADAL" clId="{785B313A-1377-449B-85BC-3F92DDC48F10}" dt="2024-01-23T14:25:05.779" v="4487" actId="478"/>
          <ac:picMkLst>
            <pc:docMk/>
            <pc:sldMk cId="3174316311" sldId="350"/>
            <ac:picMk id="15" creationId="{46362E79-B6B3-786B-2E38-5B07EC4CC2A6}"/>
          </ac:picMkLst>
        </pc:picChg>
        <pc:cxnChg chg="del">
          <ac:chgData name="Pierre CHAVANNE" userId="2e2e2412-eb49-4787-bd3d-d17adeb25e11" providerId="ADAL" clId="{785B313A-1377-449B-85BC-3F92DDC48F10}" dt="2024-01-23T14:25:06.412" v="4488" actId="478"/>
          <ac:cxnSpMkLst>
            <pc:docMk/>
            <pc:sldMk cId="3174316311" sldId="350"/>
            <ac:cxnSpMk id="14" creationId="{E21AC21D-0F31-05B5-FC15-5F23D2D005C7}"/>
          </ac:cxnSpMkLst>
        </pc:cxnChg>
      </pc:sldChg>
      <pc:sldChg chg="delSp modSp add mod">
        <pc:chgData name="Pierre CHAVANNE" userId="2e2e2412-eb49-4787-bd3d-d17adeb25e11" providerId="ADAL" clId="{785B313A-1377-449B-85BC-3F92DDC48F10}" dt="2024-02-05T15:10:49.510" v="8036" actId="20577"/>
        <pc:sldMkLst>
          <pc:docMk/>
          <pc:sldMk cId="3358519971" sldId="351"/>
        </pc:sldMkLst>
        <pc:spChg chg="mod">
          <ac:chgData name="Pierre CHAVANNE" userId="2e2e2412-eb49-4787-bd3d-d17adeb25e11" providerId="ADAL" clId="{785B313A-1377-449B-85BC-3F92DDC48F10}" dt="2024-01-23T17:08:40.350" v="6688" actId="20577"/>
          <ac:spMkLst>
            <pc:docMk/>
            <pc:sldMk cId="3358519971" sldId="351"/>
            <ac:spMk id="2" creationId="{E52B8373-62D1-544B-7A5C-41B622D6A38F}"/>
          </ac:spMkLst>
        </pc:spChg>
        <pc:spChg chg="mod">
          <ac:chgData name="Pierre CHAVANNE" userId="2e2e2412-eb49-4787-bd3d-d17adeb25e11" providerId="ADAL" clId="{785B313A-1377-449B-85BC-3F92DDC48F10}" dt="2024-02-05T15:10:49.510" v="8036" actId="20577"/>
          <ac:spMkLst>
            <pc:docMk/>
            <pc:sldMk cId="3358519971" sldId="351"/>
            <ac:spMk id="4" creationId="{430F12B2-8A30-D6A2-6AC7-ABAE7B02E283}"/>
          </ac:spMkLst>
        </pc:spChg>
        <pc:picChg chg="del">
          <ac:chgData name="Pierre CHAVANNE" userId="2e2e2412-eb49-4787-bd3d-d17adeb25e11" providerId="ADAL" clId="{785B313A-1377-449B-85BC-3F92DDC48F10}" dt="2024-01-23T14:33:51.158" v="4628" actId="478"/>
          <ac:picMkLst>
            <pc:docMk/>
            <pc:sldMk cId="3358519971" sldId="351"/>
            <ac:picMk id="5" creationId="{9F33D193-BE6A-DE62-4270-04469410F8DF}"/>
          </ac:picMkLst>
        </pc:picChg>
      </pc:sldChg>
      <pc:sldChg chg="delSp modSp add mod">
        <pc:chgData name="Pierre CHAVANNE" userId="2e2e2412-eb49-4787-bd3d-d17adeb25e11" providerId="ADAL" clId="{785B313A-1377-449B-85BC-3F92DDC48F10}" dt="2024-01-24T11:27:49.043" v="7922" actId="20577"/>
        <pc:sldMkLst>
          <pc:docMk/>
          <pc:sldMk cId="3721139861" sldId="352"/>
        </pc:sldMkLst>
        <pc:spChg chg="mod">
          <ac:chgData name="Pierre CHAVANNE" userId="2e2e2412-eb49-4787-bd3d-d17adeb25e11" providerId="ADAL" clId="{785B313A-1377-449B-85BC-3F92DDC48F10}" dt="2024-01-24T10:29:32.211" v="6923" actId="20577"/>
          <ac:spMkLst>
            <pc:docMk/>
            <pc:sldMk cId="3721139861" sldId="352"/>
            <ac:spMk id="2" creationId="{E52B8373-62D1-544B-7A5C-41B622D6A38F}"/>
          </ac:spMkLst>
        </pc:spChg>
        <pc:spChg chg="mod">
          <ac:chgData name="Pierre CHAVANNE" userId="2e2e2412-eb49-4787-bd3d-d17adeb25e11" providerId="ADAL" clId="{785B313A-1377-449B-85BC-3F92DDC48F10}" dt="2024-01-24T11:27:49.043" v="7922" actId="20577"/>
          <ac:spMkLst>
            <pc:docMk/>
            <pc:sldMk cId="3721139861" sldId="352"/>
            <ac:spMk id="4" creationId="{430F12B2-8A30-D6A2-6AC7-ABAE7B02E283}"/>
          </ac:spMkLst>
        </pc:spChg>
        <pc:picChg chg="del">
          <ac:chgData name="Pierre CHAVANNE" userId="2e2e2412-eb49-4787-bd3d-d17adeb25e11" providerId="ADAL" clId="{785B313A-1377-449B-85BC-3F92DDC48F10}" dt="2024-01-24T10:29:36.176" v="6928" actId="478"/>
          <ac:picMkLst>
            <pc:docMk/>
            <pc:sldMk cId="3721139861" sldId="352"/>
            <ac:picMk id="5" creationId="{9F33D193-BE6A-DE62-4270-04469410F8DF}"/>
          </ac:picMkLst>
        </pc:picChg>
      </pc:sldChg>
      <pc:sldChg chg="add">
        <pc:chgData name="Pierre CHAVANNE" userId="2e2e2412-eb49-4787-bd3d-d17adeb25e11" providerId="ADAL" clId="{785B313A-1377-449B-85BC-3F92DDC48F10}" dt="2024-01-24T11:30:12.504" v="7923"/>
        <pc:sldMkLst>
          <pc:docMk/>
          <pc:sldMk cId="3387029359" sldId="353"/>
        </pc:sldMkLst>
      </pc:sldChg>
      <pc:sldChg chg="add">
        <pc:chgData name="Pierre CHAVANNE" userId="2e2e2412-eb49-4787-bd3d-d17adeb25e11" providerId="ADAL" clId="{785B313A-1377-449B-85BC-3F92DDC48F10}" dt="2024-01-24T11:30:12.504" v="7923"/>
        <pc:sldMkLst>
          <pc:docMk/>
          <pc:sldMk cId="3724254854" sldId="354"/>
        </pc:sldMkLst>
      </pc:sldChg>
      <pc:sldChg chg="add">
        <pc:chgData name="Pierre CHAVANNE" userId="2e2e2412-eb49-4787-bd3d-d17adeb25e11" providerId="ADAL" clId="{785B313A-1377-449B-85BC-3F92DDC48F10}" dt="2024-01-24T11:30:12.504" v="7923"/>
        <pc:sldMkLst>
          <pc:docMk/>
          <pc:sldMk cId="3879505519" sldId="355"/>
        </pc:sldMkLst>
      </pc:sldChg>
    </pc:docChg>
  </pc:docChgLst>
  <pc:docChgLst>
    <pc:chgData name="Alexandre LEVANTE" userId="3f9fa648-f14b-4615-9798-27ea0c61bfed" providerId="ADAL" clId="{A1BFA0AB-F188-4DCE-9C32-05D8FFA3982E}"/>
    <pc:docChg chg="undo custSel addSld delSld modSld">
      <pc:chgData name="Alexandre LEVANTE" userId="3f9fa648-f14b-4615-9798-27ea0c61bfed" providerId="ADAL" clId="{A1BFA0AB-F188-4DCE-9C32-05D8FFA3982E}" dt="2023-11-27T14:08:36.928" v="9" actId="47"/>
      <pc:docMkLst>
        <pc:docMk/>
      </pc:docMkLst>
      <pc:sldChg chg="add del">
        <pc:chgData name="Alexandre LEVANTE" userId="3f9fa648-f14b-4615-9798-27ea0c61bfed" providerId="ADAL" clId="{A1BFA0AB-F188-4DCE-9C32-05D8FFA3982E}" dt="2023-11-27T14:07:13.962" v="4"/>
        <pc:sldMkLst>
          <pc:docMk/>
          <pc:sldMk cId="416608894" sldId="256"/>
        </pc:sldMkLst>
      </pc:sldChg>
      <pc:sldChg chg="add del">
        <pc:chgData name="Alexandre LEVANTE" userId="3f9fa648-f14b-4615-9798-27ea0c61bfed" providerId="ADAL" clId="{A1BFA0AB-F188-4DCE-9C32-05D8FFA3982E}" dt="2023-11-27T14:07:02.327" v="2" actId="47"/>
        <pc:sldMkLst>
          <pc:docMk/>
          <pc:sldMk cId="2270051247" sldId="261"/>
        </pc:sldMkLst>
      </pc:sldChg>
      <pc:sldChg chg="new del">
        <pc:chgData name="Alexandre LEVANTE" userId="3f9fa648-f14b-4615-9798-27ea0c61bfed" providerId="ADAL" clId="{A1BFA0AB-F188-4DCE-9C32-05D8FFA3982E}" dt="2023-11-27T14:08:36.928" v="9" actId="47"/>
        <pc:sldMkLst>
          <pc:docMk/>
          <pc:sldMk cId="3798736701" sldId="261"/>
        </pc:sldMkLst>
      </pc:sldChg>
      <pc:sldChg chg="new del">
        <pc:chgData name="Alexandre LEVANTE" userId="3f9fa648-f14b-4615-9798-27ea0c61bfed" providerId="ADAL" clId="{A1BFA0AB-F188-4DCE-9C32-05D8FFA3982E}" dt="2023-11-27T14:08:30.196" v="7" actId="680"/>
        <pc:sldMkLst>
          <pc:docMk/>
          <pc:sldMk cId="1417134834" sldId="262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2122132644" sldId="262"/>
        </pc:sldMkLst>
      </pc:sldChg>
      <pc:sldChg chg="new">
        <pc:chgData name="Alexandre LEVANTE" userId="3f9fa648-f14b-4615-9798-27ea0c61bfed" providerId="ADAL" clId="{A1BFA0AB-F188-4DCE-9C32-05D8FFA3982E}" dt="2023-11-27T14:08:33.739" v="8" actId="680"/>
        <pc:sldMkLst>
          <pc:docMk/>
          <pc:sldMk cId="4082308843" sldId="262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1571575077" sldId="263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2380994617" sldId="265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1615902378" sldId="266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2376373146" sldId="267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3561166778" sldId="300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2675272974" sldId="2134805925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621596271" sldId="2147377117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2520913310" sldId="2147377118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3216623788" sldId="2147377410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1093436317" sldId="2147377424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2933304876" sldId="2147377426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1125379258" sldId="2147377427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2510240396" sldId="2147377432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3200625503" sldId="2147377437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3287587123" sldId="2147377438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2260008973" sldId="2147377441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1548333667" sldId="2147377442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1611988416" sldId="2147377445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789982425" sldId="2147377446"/>
        </pc:sldMkLst>
      </pc:sldChg>
      <pc:sldMasterChg chg="delSldLayout">
        <pc:chgData name="Alexandre LEVANTE" userId="3f9fa648-f14b-4615-9798-27ea0c61bfed" providerId="ADAL" clId="{A1BFA0AB-F188-4DCE-9C32-05D8FFA3982E}" dt="2023-11-27T14:07:02.327" v="2" actId="47"/>
        <pc:sldMasterMkLst>
          <pc:docMk/>
          <pc:sldMasterMk cId="2894504039" sldId="2147483648"/>
        </pc:sldMasterMkLst>
        <pc:sldLayoutChg chg="del">
          <pc:chgData name="Alexandre LEVANTE" userId="3f9fa648-f14b-4615-9798-27ea0c61bfed" providerId="ADAL" clId="{A1BFA0AB-F188-4DCE-9C32-05D8FFA3982E}" dt="2023-11-27T14:07:02.327" v="2" actId="47"/>
          <pc:sldLayoutMkLst>
            <pc:docMk/>
            <pc:sldMasterMk cId="2894504039" sldId="2147483648"/>
            <pc:sldLayoutMk cId="2017896441" sldId="2147483672"/>
          </pc:sldLayoutMkLst>
        </pc:sldLayoutChg>
        <pc:sldLayoutChg chg="del">
          <pc:chgData name="Alexandre LEVANTE" userId="3f9fa648-f14b-4615-9798-27ea0c61bfed" providerId="ADAL" clId="{A1BFA0AB-F188-4DCE-9C32-05D8FFA3982E}" dt="2023-11-27T14:07:02.327" v="2" actId="47"/>
          <pc:sldLayoutMkLst>
            <pc:docMk/>
            <pc:sldMasterMk cId="2894504039" sldId="2147483648"/>
            <pc:sldLayoutMk cId="2489034713" sldId="2147483673"/>
          </pc:sldLayoutMkLst>
        </pc:sldLayoutChg>
        <pc:sldLayoutChg chg="del">
          <pc:chgData name="Alexandre LEVANTE" userId="3f9fa648-f14b-4615-9798-27ea0c61bfed" providerId="ADAL" clId="{A1BFA0AB-F188-4DCE-9C32-05D8FFA3982E}" dt="2023-11-27T14:07:02.327" v="2" actId="47"/>
          <pc:sldLayoutMkLst>
            <pc:docMk/>
            <pc:sldMasterMk cId="2894504039" sldId="2147483648"/>
            <pc:sldLayoutMk cId="2023895060" sldId="2147483674"/>
          </pc:sldLayoutMkLst>
        </pc:sldLayoutChg>
        <pc:sldLayoutChg chg="del">
          <pc:chgData name="Alexandre LEVANTE" userId="3f9fa648-f14b-4615-9798-27ea0c61bfed" providerId="ADAL" clId="{A1BFA0AB-F188-4DCE-9C32-05D8FFA3982E}" dt="2023-11-27T14:07:02.327" v="2" actId="47"/>
          <pc:sldLayoutMkLst>
            <pc:docMk/>
            <pc:sldMasterMk cId="2894504039" sldId="2147483648"/>
            <pc:sldLayoutMk cId="2386603530" sldId="2147483675"/>
          </pc:sldLayoutMkLst>
        </pc:sldLayoutChg>
        <pc:sldLayoutChg chg="del">
          <pc:chgData name="Alexandre LEVANTE" userId="3f9fa648-f14b-4615-9798-27ea0c61bfed" providerId="ADAL" clId="{A1BFA0AB-F188-4DCE-9C32-05D8FFA3982E}" dt="2023-11-27T14:07:02.327" v="2" actId="47"/>
          <pc:sldLayoutMkLst>
            <pc:docMk/>
            <pc:sldMasterMk cId="2894504039" sldId="2147483648"/>
            <pc:sldLayoutMk cId="2778009650" sldId="2147483676"/>
          </pc:sldLayoutMkLst>
        </pc:sldLayoutChg>
      </pc:sldMasterChg>
    </pc:docChg>
  </pc:docChgLst>
  <pc:docChgLst>
    <pc:chgData name="Abdo YOUNES" userId="410625cc-30c9-462b-9b51-d67c878f9deb" providerId="ADAL" clId="{3CD0031A-BFCC-4C46-98F4-C146996B7387}"/>
    <pc:docChg chg="undo redo custSel addSld delSld modSld">
      <pc:chgData name="Abdo YOUNES" userId="410625cc-30c9-462b-9b51-d67c878f9deb" providerId="ADAL" clId="{3CD0031A-BFCC-4C46-98F4-C146996B7387}" dt="2023-11-09T10:10:32.172" v="665"/>
      <pc:docMkLst>
        <pc:docMk/>
      </pc:docMkLst>
      <pc:sldChg chg="addSp delSp modSp mod setBg addAnim delAnim">
        <pc:chgData name="Abdo YOUNES" userId="410625cc-30c9-462b-9b51-d67c878f9deb" providerId="ADAL" clId="{3CD0031A-BFCC-4C46-98F4-C146996B7387}" dt="2023-11-09T09:20:47.013" v="100" actId="478"/>
        <pc:sldMkLst>
          <pc:docMk/>
          <pc:sldMk cId="416608894" sldId="256"/>
        </pc:sldMkLst>
        <pc:spChg chg="mod">
          <ac:chgData name="Abdo YOUNES" userId="410625cc-30c9-462b-9b51-d67c878f9deb" providerId="ADAL" clId="{3CD0031A-BFCC-4C46-98F4-C146996B7387}" dt="2023-11-09T09:20:35.282" v="98" actId="26606"/>
          <ac:spMkLst>
            <pc:docMk/>
            <pc:sldMk cId="416608894" sldId="256"/>
            <ac:spMk id="2" creationId="{059F83C5-EADC-ECB8-9482-5B582EF81F4C}"/>
          </ac:spMkLst>
        </pc:spChg>
        <pc:spChg chg="mod">
          <ac:chgData name="Abdo YOUNES" userId="410625cc-30c9-462b-9b51-d67c878f9deb" providerId="ADAL" clId="{3CD0031A-BFCC-4C46-98F4-C146996B7387}" dt="2023-11-09T09:20:35.282" v="98" actId="26606"/>
          <ac:spMkLst>
            <pc:docMk/>
            <pc:sldMk cId="416608894" sldId="256"/>
            <ac:spMk id="26" creationId="{0997DB9D-7D8D-6D4B-B6A6-246BADFDF375}"/>
          </ac:spMkLst>
        </pc:spChg>
        <pc:spChg chg="add del">
          <ac:chgData name="Abdo YOUNES" userId="410625cc-30c9-462b-9b51-d67c878f9deb" providerId="ADAL" clId="{3CD0031A-BFCC-4C46-98F4-C146996B7387}" dt="2023-11-09T09:20:16.169" v="83" actId="26606"/>
          <ac:spMkLst>
            <pc:docMk/>
            <pc:sldMk cId="416608894" sldId="256"/>
            <ac:spMk id="31" creationId="{FB5B0058-AF13-4859-B429-4EDDE2A26F7F}"/>
          </ac:spMkLst>
        </pc:spChg>
        <pc:spChg chg="add del">
          <ac:chgData name="Abdo YOUNES" userId="410625cc-30c9-462b-9b51-d67c878f9deb" providerId="ADAL" clId="{3CD0031A-BFCC-4C46-98F4-C146996B7387}" dt="2023-11-09T09:20:16.169" v="83" actId="26606"/>
          <ac:spMkLst>
            <pc:docMk/>
            <pc:sldMk cId="416608894" sldId="256"/>
            <ac:spMk id="33" creationId="{0277405F-0B4F-4418-B773-1B38814125B6}"/>
          </ac:spMkLst>
        </pc:spChg>
        <pc:spChg chg="add del">
          <ac:chgData name="Abdo YOUNES" userId="410625cc-30c9-462b-9b51-d67c878f9deb" providerId="ADAL" clId="{3CD0031A-BFCC-4C46-98F4-C146996B7387}" dt="2023-11-09T09:20:21.881" v="89" actId="26606"/>
          <ac:spMkLst>
            <pc:docMk/>
            <pc:sldMk cId="416608894" sldId="256"/>
            <ac:spMk id="35" creationId="{60926200-45C2-41E9-839F-31CD5FE4CD59}"/>
          </ac:spMkLst>
        </pc:spChg>
        <pc:spChg chg="add del">
          <ac:chgData name="Abdo YOUNES" userId="410625cc-30c9-462b-9b51-d67c878f9deb" providerId="ADAL" clId="{3CD0031A-BFCC-4C46-98F4-C146996B7387}" dt="2023-11-09T09:20:17.862" v="85" actId="26606"/>
          <ac:spMkLst>
            <pc:docMk/>
            <pc:sldMk cId="416608894" sldId="256"/>
            <ac:spMk id="37" creationId="{E18F6E8B-15ED-43C7-94BA-91549A651C73}"/>
          </ac:spMkLst>
        </pc:spChg>
        <pc:spChg chg="add del">
          <ac:chgData name="Abdo YOUNES" userId="410625cc-30c9-462b-9b51-d67c878f9deb" providerId="ADAL" clId="{3CD0031A-BFCC-4C46-98F4-C146996B7387}" dt="2023-11-09T09:20:17.862" v="85" actId="26606"/>
          <ac:spMkLst>
            <pc:docMk/>
            <pc:sldMk cId="416608894" sldId="256"/>
            <ac:spMk id="38" creationId="{B81933D1-5615-42C7-9C0B-4EB7105CCE2D}"/>
          </ac:spMkLst>
        </pc:spChg>
        <pc:spChg chg="add del">
          <ac:chgData name="Abdo YOUNES" userId="410625cc-30c9-462b-9b51-d67c878f9deb" providerId="ADAL" clId="{3CD0031A-BFCC-4C46-98F4-C146996B7387}" dt="2023-11-09T09:20:17.862" v="85" actId="26606"/>
          <ac:spMkLst>
            <pc:docMk/>
            <pc:sldMk cId="416608894" sldId="256"/>
            <ac:spMk id="40" creationId="{B089A89A-1E9C-4761-9DFF-53C275FBF870}"/>
          </ac:spMkLst>
        </pc:spChg>
        <pc:spChg chg="add del">
          <ac:chgData name="Abdo YOUNES" userId="410625cc-30c9-462b-9b51-d67c878f9deb" providerId="ADAL" clId="{3CD0031A-BFCC-4C46-98F4-C146996B7387}" dt="2023-11-09T09:20:17.862" v="85" actId="26606"/>
          <ac:spMkLst>
            <pc:docMk/>
            <pc:sldMk cId="416608894" sldId="256"/>
            <ac:spMk id="42" creationId="{19C9EAEA-39D0-4B0E-A0EB-51E7B26740B1}"/>
          </ac:spMkLst>
        </pc:spChg>
        <pc:spChg chg="add del">
          <ac:chgData name="Abdo YOUNES" userId="410625cc-30c9-462b-9b51-d67c878f9deb" providerId="ADAL" clId="{3CD0031A-BFCC-4C46-98F4-C146996B7387}" dt="2023-11-09T09:20:19.123" v="87" actId="26606"/>
          <ac:spMkLst>
            <pc:docMk/>
            <pc:sldMk cId="416608894" sldId="256"/>
            <ac:spMk id="44" creationId="{F0087D53-9295-4463-AAE4-D5C626046E9F}"/>
          </ac:spMkLst>
        </pc:spChg>
        <pc:spChg chg="add del">
          <ac:chgData name="Abdo YOUNES" userId="410625cc-30c9-462b-9b51-d67c878f9deb" providerId="ADAL" clId="{3CD0031A-BFCC-4C46-98F4-C146996B7387}" dt="2023-11-09T09:20:19.123" v="87" actId="26606"/>
          <ac:spMkLst>
            <pc:docMk/>
            <pc:sldMk cId="416608894" sldId="256"/>
            <ac:spMk id="45" creationId="{D6A9C53F-5F90-40A5-8C85-5412D39C8C68}"/>
          </ac:spMkLst>
        </pc:spChg>
        <pc:spChg chg="add del">
          <ac:chgData name="Abdo YOUNES" userId="410625cc-30c9-462b-9b51-d67c878f9deb" providerId="ADAL" clId="{3CD0031A-BFCC-4C46-98F4-C146996B7387}" dt="2023-11-09T09:20:21.881" v="89" actId="26606"/>
          <ac:spMkLst>
            <pc:docMk/>
            <pc:sldMk cId="416608894" sldId="256"/>
            <ac:spMk id="47" creationId="{FB33DC6A-1F1C-4A06-834E-CFF88F1C0BB9}"/>
          </ac:spMkLst>
        </pc:spChg>
        <pc:spChg chg="add del">
          <ac:chgData name="Abdo YOUNES" userId="410625cc-30c9-462b-9b51-d67c878f9deb" providerId="ADAL" clId="{3CD0031A-BFCC-4C46-98F4-C146996B7387}" dt="2023-11-09T09:20:21.881" v="89" actId="26606"/>
          <ac:spMkLst>
            <pc:docMk/>
            <pc:sldMk cId="416608894" sldId="256"/>
            <ac:spMk id="48" creationId="{0FE1D5CF-87B8-4A8A-AD3C-01D06A60769B}"/>
          </ac:spMkLst>
        </pc:spChg>
        <pc:spChg chg="add del">
          <ac:chgData name="Abdo YOUNES" userId="410625cc-30c9-462b-9b51-d67c878f9deb" providerId="ADAL" clId="{3CD0031A-BFCC-4C46-98F4-C146996B7387}" dt="2023-11-09T09:20:21.881" v="89" actId="26606"/>
          <ac:spMkLst>
            <pc:docMk/>
            <pc:sldMk cId="416608894" sldId="256"/>
            <ac:spMk id="49" creationId="{AF2F604E-43BE-4DC3-B983-E071523364F8}"/>
          </ac:spMkLst>
        </pc:spChg>
        <pc:spChg chg="add del">
          <ac:chgData name="Abdo YOUNES" userId="410625cc-30c9-462b-9b51-d67c878f9deb" providerId="ADAL" clId="{3CD0031A-BFCC-4C46-98F4-C146996B7387}" dt="2023-11-09T09:20:21.881" v="89" actId="26606"/>
          <ac:spMkLst>
            <pc:docMk/>
            <pc:sldMk cId="416608894" sldId="256"/>
            <ac:spMk id="50" creationId="{08C9B587-E65E-4B52-B37C-ABEBB6E87928}"/>
          </ac:spMkLst>
        </pc:spChg>
        <pc:spChg chg="add del">
          <ac:chgData name="Abdo YOUNES" userId="410625cc-30c9-462b-9b51-d67c878f9deb" providerId="ADAL" clId="{3CD0031A-BFCC-4C46-98F4-C146996B7387}" dt="2023-11-09T09:20:23.150" v="91" actId="26606"/>
          <ac:spMkLst>
            <pc:docMk/>
            <pc:sldMk cId="416608894" sldId="256"/>
            <ac:spMk id="52" creationId="{B87C619C-EBAB-488E-96B9-153AA4C9B440}"/>
          </ac:spMkLst>
        </pc:spChg>
        <pc:spChg chg="add del">
          <ac:chgData name="Abdo YOUNES" userId="410625cc-30c9-462b-9b51-d67c878f9deb" providerId="ADAL" clId="{3CD0031A-BFCC-4C46-98F4-C146996B7387}" dt="2023-11-09T09:20:23.150" v="91" actId="26606"/>
          <ac:spMkLst>
            <pc:docMk/>
            <pc:sldMk cId="416608894" sldId="256"/>
            <ac:spMk id="53" creationId="{130DA1C1-36FD-41D8-9826-EE797BF39BAB}"/>
          </ac:spMkLst>
        </pc:spChg>
        <pc:spChg chg="add del">
          <ac:chgData name="Abdo YOUNES" userId="410625cc-30c9-462b-9b51-d67c878f9deb" providerId="ADAL" clId="{3CD0031A-BFCC-4C46-98F4-C146996B7387}" dt="2023-11-09T09:20:23.150" v="91" actId="26606"/>
          <ac:spMkLst>
            <pc:docMk/>
            <pc:sldMk cId="416608894" sldId="256"/>
            <ac:spMk id="54" creationId="{35BC54F7-1315-4D6C-9420-A5BF0CDDBC04}"/>
          </ac:spMkLst>
        </pc:spChg>
        <pc:spChg chg="add del">
          <ac:chgData name="Abdo YOUNES" userId="410625cc-30c9-462b-9b51-d67c878f9deb" providerId="ADAL" clId="{3CD0031A-BFCC-4C46-98F4-C146996B7387}" dt="2023-11-09T09:20:26.589" v="93" actId="26606"/>
          <ac:spMkLst>
            <pc:docMk/>
            <pc:sldMk cId="416608894" sldId="256"/>
            <ac:spMk id="56" creationId="{88263A24-0C1F-4677-B43C-4AE14E276B27}"/>
          </ac:spMkLst>
        </pc:spChg>
        <pc:spChg chg="add del">
          <ac:chgData name="Abdo YOUNES" userId="410625cc-30c9-462b-9b51-d67c878f9deb" providerId="ADAL" clId="{3CD0031A-BFCC-4C46-98F4-C146996B7387}" dt="2023-11-09T09:20:26.589" v="93" actId="26606"/>
          <ac:spMkLst>
            <pc:docMk/>
            <pc:sldMk cId="416608894" sldId="256"/>
            <ac:spMk id="57" creationId="{0ADDB668-2CA4-4D2B-9C34-3487CA330BA8}"/>
          </ac:spMkLst>
        </pc:spChg>
        <pc:spChg chg="add del">
          <ac:chgData name="Abdo YOUNES" userId="410625cc-30c9-462b-9b51-d67c878f9deb" providerId="ADAL" clId="{3CD0031A-BFCC-4C46-98F4-C146996B7387}" dt="2023-11-09T09:20:26.589" v="93" actId="26606"/>
          <ac:spMkLst>
            <pc:docMk/>
            <pc:sldMk cId="416608894" sldId="256"/>
            <ac:spMk id="58" creationId="{2568BC19-F052-4108-93E1-6A3D1DEC072F}"/>
          </ac:spMkLst>
        </pc:spChg>
        <pc:spChg chg="add del">
          <ac:chgData name="Abdo YOUNES" userId="410625cc-30c9-462b-9b51-d67c878f9deb" providerId="ADAL" clId="{3CD0031A-BFCC-4C46-98F4-C146996B7387}" dt="2023-11-09T09:20:26.589" v="93" actId="26606"/>
          <ac:spMkLst>
            <pc:docMk/>
            <pc:sldMk cId="416608894" sldId="256"/>
            <ac:spMk id="59" creationId="{D5FD337D-4D6B-4C8B-B6F5-121097E09881}"/>
          </ac:spMkLst>
        </pc:spChg>
        <pc:spChg chg="add del">
          <ac:chgData name="Abdo YOUNES" userId="410625cc-30c9-462b-9b51-d67c878f9deb" providerId="ADAL" clId="{3CD0031A-BFCC-4C46-98F4-C146996B7387}" dt="2023-11-09T09:20:35.282" v="98" actId="26606"/>
          <ac:spMkLst>
            <pc:docMk/>
            <pc:sldMk cId="416608894" sldId="256"/>
            <ac:spMk id="61" creationId="{27BDFED6-6E33-4606-AFE2-886ADB1C018E}"/>
          </ac:spMkLst>
        </pc:spChg>
        <pc:spChg chg="add del">
          <ac:chgData name="Abdo YOUNES" userId="410625cc-30c9-462b-9b51-d67c878f9deb" providerId="ADAL" clId="{3CD0031A-BFCC-4C46-98F4-C146996B7387}" dt="2023-11-09T09:20:35.282" v="98" actId="26606"/>
          <ac:spMkLst>
            <pc:docMk/>
            <pc:sldMk cId="416608894" sldId="256"/>
            <ac:spMk id="62" creationId="{890DEF05-784E-4B61-89E4-04C4ECF4E5A0}"/>
          </ac:spMkLst>
        </pc:spChg>
        <pc:grpChg chg="add del">
          <ac:chgData name="Abdo YOUNES" userId="410625cc-30c9-462b-9b51-d67c878f9deb" providerId="ADAL" clId="{3CD0031A-BFCC-4C46-98F4-C146996B7387}" dt="2023-11-09T09:20:17.862" v="85" actId="26606"/>
          <ac:grpSpMkLst>
            <pc:docMk/>
            <pc:sldMk cId="416608894" sldId="256"/>
            <ac:grpSpMk id="39" creationId="{032D8612-31EB-44CF-A1D0-14FD4C705424}"/>
          </ac:grpSpMkLst>
        </pc:grpChg>
        <pc:picChg chg="mod ord">
          <ac:chgData name="Abdo YOUNES" userId="410625cc-30c9-462b-9b51-d67c878f9deb" providerId="ADAL" clId="{3CD0031A-BFCC-4C46-98F4-C146996B7387}" dt="2023-11-09T09:20:35.282" v="98" actId="26606"/>
          <ac:picMkLst>
            <pc:docMk/>
            <pc:sldMk cId="416608894" sldId="256"/>
            <ac:picMk id="3" creationId="{A27B3215-DB10-3EAB-9093-A6C05371DACF}"/>
          </ac:picMkLst>
        </pc:picChg>
        <pc:picChg chg="add del mod">
          <ac:chgData name="Abdo YOUNES" userId="410625cc-30c9-462b-9b51-d67c878f9deb" providerId="ADAL" clId="{3CD0031A-BFCC-4C46-98F4-C146996B7387}" dt="2023-11-09T09:20:47.013" v="100" actId="478"/>
          <ac:picMkLst>
            <pc:docMk/>
            <pc:sldMk cId="416608894" sldId="256"/>
            <ac:picMk id="4" creationId="{2E6ABECB-E8ED-4E74-D412-4C240A0DE0F4}"/>
          </ac:picMkLst>
        </pc:picChg>
        <pc:picChg chg="mod ord">
          <ac:chgData name="Abdo YOUNES" userId="410625cc-30c9-462b-9b51-d67c878f9deb" providerId="ADAL" clId="{3CD0031A-BFCC-4C46-98F4-C146996B7387}" dt="2023-11-09T09:20:35.282" v="98" actId="26606"/>
          <ac:picMkLst>
            <pc:docMk/>
            <pc:sldMk cId="416608894" sldId="256"/>
            <ac:picMk id="7" creationId="{42A394BC-F169-94E3-A40A-5BC6ECC40396}"/>
          </ac:picMkLst>
        </pc:picChg>
        <pc:cxnChg chg="add del">
          <ac:chgData name="Abdo YOUNES" userId="410625cc-30c9-462b-9b51-d67c878f9deb" providerId="ADAL" clId="{3CD0031A-BFCC-4C46-98F4-C146996B7387}" dt="2023-11-09T09:20:35.282" v="98" actId="26606"/>
          <ac:cxnSpMkLst>
            <pc:docMk/>
            <pc:sldMk cId="416608894" sldId="256"/>
            <ac:cxnSpMk id="63" creationId="{C41BAEC7-F7B0-4224-8B18-8F74B7D87F0B}"/>
          </ac:cxnSpMkLst>
        </pc:cxnChg>
      </pc:sldChg>
      <pc:sldChg chg="addSp delSp modSp mod">
        <pc:chgData name="Abdo YOUNES" userId="410625cc-30c9-462b-9b51-d67c878f9deb" providerId="ADAL" clId="{3CD0031A-BFCC-4C46-98F4-C146996B7387}" dt="2023-11-09T09:31:07.455" v="263" actId="1076"/>
        <pc:sldMkLst>
          <pc:docMk/>
          <pc:sldMk cId="2270051247" sldId="261"/>
        </pc:sldMkLst>
        <pc:spChg chg="add del">
          <ac:chgData name="Abdo YOUNES" userId="410625cc-30c9-462b-9b51-d67c878f9deb" providerId="ADAL" clId="{3CD0031A-BFCC-4C46-98F4-C146996B7387}" dt="2023-11-09T09:19:39.319" v="75" actId="478"/>
          <ac:spMkLst>
            <pc:docMk/>
            <pc:sldMk cId="2270051247" sldId="261"/>
            <ac:spMk id="2" creationId="{9603D949-A946-BEB0-F893-5467B598CC54}"/>
          </ac:spMkLst>
        </pc:spChg>
        <pc:spChg chg="mod">
          <ac:chgData name="Abdo YOUNES" userId="410625cc-30c9-462b-9b51-d67c878f9deb" providerId="ADAL" clId="{3CD0031A-BFCC-4C46-98F4-C146996B7387}" dt="2023-11-09T09:19:44.355" v="77" actId="1076"/>
          <ac:spMkLst>
            <pc:docMk/>
            <pc:sldMk cId="2270051247" sldId="261"/>
            <ac:spMk id="3" creationId="{42BED60B-FBD2-97AD-BE3A-A3295A4D3A65}"/>
          </ac:spMkLst>
        </pc:spChg>
        <pc:spChg chg="mod">
          <ac:chgData name="Abdo YOUNES" userId="410625cc-30c9-462b-9b51-d67c878f9deb" providerId="ADAL" clId="{3CD0031A-BFCC-4C46-98F4-C146996B7387}" dt="2023-11-09T09:20:41.369" v="99" actId="1076"/>
          <ac:spMkLst>
            <pc:docMk/>
            <pc:sldMk cId="2270051247" sldId="261"/>
            <ac:spMk id="4" creationId="{127B1C1F-2961-5A9D-9E04-AA2D543463F8}"/>
          </ac:spMkLst>
        </pc:spChg>
        <pc:spChg chg="mod">
          <ac:chgData name="Abdo YOUNES" userId="410625cc-30c9-462b-9b51-d67c878f9deb" providerId="ADAL" clId="{3CD0031A-BFCC-4C46-98F4-C146996B7387}" dt="2023-11-09T09:27:07.660" v="199" actId="1076"/>
          <ac:spMkLst>
            <pc:docMk/>
            <pc:sldMk cId="2270051247" sldId="261"/>
            <ac:spMk id="5" creationId="{E58A8835-E3A2-1EDB-A3AD-9BD587BDCE60}"/>
          </ac:spMkLst>
        </pc:spChg>
        <pc:spChg chg="add del mod">
          <ac:chgData name="Abdo YOUNES" userId="410625cc-30c9-462b-9b51-d67c878f9deb" providerId="ADAL" clId="{3CD0031A-BFCC-4C46-98F4-C146996B7387}" dt="2023-11-09T09:12:49.323" v="33"/>
          <ac:spMkLst>
            <pc:docMk/>
            <pc:sldMk cId="2270051247" sldId="261"/>
            <ac:spMk id="7" creationId="{A5649591-8B08-A0CC-67C4-9DEC932AB91C}"/>
          </ac:spMkLst>
        </pc:spChg>
        <pc:spChg chg="add del mod">
          <ac:chgData name="Abdo YOUNES" userId="410625cc-30c9-462b-9b51-d67c878f9deb" providerId="ADAL" clId="{3CD0031A-BFCC-4C46-98F4-C146996B7387}" dt="2023-11-09T09:19:40.302" v="76" actId="478"/>
          <ac:spMkLst>
            <pc:docMk/>
            <pc:sldMk cId="2270051247" sldId="261"/>
            <ac:spMk id="15" creationId="{E4F3EF58-8474-99C8-DB9E-3CB336FE5B18}"/>
          </ac:spMkLst>
        </pc:spChg>
        <pc:spChg chg="add del mod">
          <ac:chgData name="Abdo YOUNES" userId="410625cc-30c9-462b-9b51-d67c878f9deb" providerId="ADAL" clId="{3CD0031A-BFCC-4C46-98F4-C146996B7387}" dt="2023-11-09T09:26:13.038" v="176" actId="478"/>
          <ac:spMkLst>
            <pc:docMk/>
            <pc:sldMk cId="2270051247" sldId="261"/>
            <ac:spMk id="16" creationId="{1BF90219-545E-5F72-4366-15AF92F46132}"/>
          </ac:spMkLst>
        </pc:spChg>
        <pc:spChg chg="add del mod">
          <ac:chgData name="Abdo YOUNES" userId="410625cc-30c9-462b-9b51-d67c878f9deb" providerId="ADAL" clId="{3CD0031A-BFCC-4C46-98F4-C146996B7387}" dt="2023-11-09T09:29:28.949" v="234"/>
          <ac:spMkLst>
            <pc:docMk/>
            <pc:sldMk cId="2270051247" sldId="261"/>
            <ac:spMk id="17" creationId="{FEB4176C-BB21-3637-2486-7B7A46C51B94}"/>
          </ac:spMkLst>
        </pc:spChg>
        <pc:spChg chg="add del">
          <ac:chgData name="Abdo YOUNES" userId="410625cc-30c9-462b-9b51-d67c878f9deb" providerId="ADAL" clId="{3CD0031A-BFCC-4C46-98F4-C146996B7387}" dt="2023-11-09T09:26:30.198" v="189" actId="22"/>
          <ac:spMkLst>
            <pc:docMk/>
            <pc:sldMk cId="2270051247" sldId="261"/>
            <ac:spMk id="19" creationId="{177A91D6-4C66-1AC8-4D95-FB9E4DEF102B}"/>
          </ac:spMkLst>
        </pc:spChg>
        <pc:spChg chg="add mod">
          <ac:chgData name="Abdo YOUNES" userId="410625cc-30c9-462b-9b51-d67c878f9deb" providerId="ADAL" clId="{3CD0031A-BFCC-4C46-98F4-C146996B7387}" dt="2023-11-09T09:27:32.233" v="206" actId="1076"/>
          <ac:spMkLst>
            <pc:docMk/>
            <pc:sldMk cId="2270051247" sldId="261"/>
            <ac:spMk id="21" creationId="{6CDD5842-5437-2D00-477E-62F55A795E87}"/>
          </ac:spMkLst>
        </pc:spChg>
        <pc:spChg chg="add del">
          <ac:chgData name="Abdo YOUNES" userId="410625cc-30c9-462b-9b51-d67c878f9deb" providerId="ADAL" clId="{3CD0031A-BFCC-4C46-98F4-C146996B7387}" dt="2023-11-09T09:27:37.314" v="208" actId="22"/>
          <ac:spMkLst>
            <pc:docMk/>
            <pc:sldMk cId="2270051247" sldId="261"/>
            <ac:spMk id="23" creationId="{CB2D5086-D676-CEF9-81F1-CBFF92449D19}"/>
          </ac:spMkLst>
        </pc:spChg>
        <pc:spChg chg="add mod">
          <ac:chgData name="Abdo YOUNES" userId="410625cc-30c9-462b-9b51-d67c878f9deb" providerId="ADAL" clId="{3CD0031A-BFCC-4C46-98F4-C146996B7387}" dt="2023-11-09T09:30:57.894" v="260" actId="1076"/>
          <ac:spMkLst>
            <pc:docMk/>
            <pc:sldMk cId="2270051247" sldId="261"/>
            <ac:spMk id="25" creationId="{227FA3C2-4CED-54F9-1825-CA3821CE1624}"/>
          </ac:spMkLst>
        </pc:spChg>
        <pc:spChg chg="add mod">
          <ac:chgData name="Abdo YOUNES" userId="410625cc-30c9-462b-9b51-d67c878f9deb" providerId="ADAL" clId="{3CD0031A-BFCC-4C46-98F4-C146996B7387}" dt="2023-11-09T09:31:00.448" v="261" actId="1076"/>
          <ac:spMkLst>
            <pc:docMk/>
            <pc:sldMk cId="2270051247" sldId="261"/>
            <ac:spMk id="27" creationId="{CB79F05F-8D59-95AD-6236-7294C36011AD}"/>
          </ac:spMkLst>
        </pc:spChg>
        <pc:spChg chg="add mod">
          <ac:chgData name="Abdo YOUNES" userId="410625cc-30c9-462b-9b51-d67c878f9deb" providerId="ADAL" clId="{3CD0031A-BFCC-4C46-98F4-C146996B7387}" dt="2023-11-09T09:31:04.170" v="262" actId="1076"/>
          <ac:spMkLst>
            <pc:docMk/>
            <pc:sldMk cId="2270051247" sldId="261"/>
            <ac:spMk id="29" creationId="{5EA0A664-9903-53D3-B049-37C71D722792}"/>
          </ac:spMkLst>
        </pc:spChg>
        <pc:spChg chg="add mod">
          <ac:chgData name="Abdo YOUNES" userId="410625cc-30c9-462b-9b51-d67c878f9deb" providerId="ADAL" clId="{3CD0031A-BFCC-4C46-98F4-C146996B7387}" dt="2023-11-09T09:31:07.455" v="263" actId="1076"/>
          <ac:spMkLst>
            <pc:docMk/>
            <pc:sldMk cId="2270051247" sldId="261"/>
            <ac:spMk id="31" creationId="{BC465847-BC1D-E21E-3665-A311D9F74079}"/>
          </ac:spMkLst>
        </pc:spChg>
        <pc:spChg chg="add mod">
          <ac:chgData name="Abdo YOUNES" userId="410625cc-30c9-462b-9b51-d67c878f9deb" providerId="ADAL" clId="{3CD0031A-BFCC-4C46-98F4-C146996B7387}" dt="2023-11-09T09:30:12.396" v="246" actId="1076"/>
          <ac:spMkLst>
            <pc:docMk/>
            <pc:sldMk cId="2270051247" sldId="261"/>
            <ac:spMk id="33" creationId="{23C05177-97A9-6D81-7684-FA29336BBA0D}"/>
          </ac:spMkLst>
        </pc:spChg>
        <pc:spChg chg="add mod">
          <ac:chgData name="Abdo YOUNES" userId="410625cc-30c9-462b-9b51-d67c878f9deb" providerId="ADAL" clId="{3CD0031A-BFCC-4C46-98F4-C146996B7387}" dt="2023-11-09T09:30:16.323" v="247" actId="1076"/>
          <ac:spMkLst>
            <pc:docMk/>
            <pc:sldMk cId="2270051247" sldId="261"/>
            <ac:spMk id="35" creationId="{895B9FC3-A831-E51C-B034-FCC8A34157A8}"/>
          </ac:spMkLst>
        </pc:spChg>
        <pc:spChg chg="add mod">
          <ac:chgData name="Abdo YOUNES" userId="410625cc-30c9-462b-9b51-d67c878f9deb" providerId="ADAL" clId="{3CD0031A-BFCC-4C46-98F4-C146996B7387}" dt="2023-11-09T09:30:40.310" v="254" actId="20577"/>
          <ac:spMkLst>
            <pc:docMk/>
            <pc:sldMk cId="2270051247" sldId="261"/>
            <ac:spMk id="36" creationId="{C12443BC-41AF-B401-9913-B2DE3EB0369D}"/>
          </ac:spMkLst>
        </pc:spChg>
        <pc:spChg chg="add del mod">
          <ac:chgData name="Abdo YOUNES" userId="410625cc-30c9-462b-9b51-d67c878f9deb" providerId="ADAL" clId="{3CD0031A-BFCC-4C46-98F4-C146996B7387}" dt="2023-11-09T09:30:43.635" v="256"/>
          <ac:spMkLst>
            <pc:docMk/>
            <pc:sldMk cId="2270051247" sldId="261"/>
            <ac:spMk id="37" creationId="{7C93F24C-8A16-F92E-EF87-1C7502903696}"/>
          </ac:spMkLst>
        </pc:spChg>
        <pc:spChg chg="add mod">
          <ac:chgData name="Abdo YOUNES" userId="410625cc-30c9-462b-9b51-d67c878f9deb" providerId="ADAL" clId="{3CD0031A-BFCC-4C46-98F4-C146996B7387}" dt="2023-11-09T09:30:49.141" v="259" actId="20577"/>
          <ac:spMkLst>
            <pc:docMk/>
            <pc:sldMk cId="2270051247" sldId="261"/>
            <ac:spMk id="38" creationId="{03820C95-53D3-D350-C16E-B04D8D41C871}"/>
          </ac:spMkLst>
        </pc:spChg>
        <pc:picChg chg="add del mod">
          <ac:chgData name="Abdo YOUNES" userId="410625cc-30c9-462b-9b51-d67c878f9deb" providerId="ADAL" clId="{3CD0031A-BFCC-4C46-98F4-C146996B7387}" dt="2023-11-09T09:13:32.812" v="40"/>
          <ac:picMkLst>
            <pc:docMk/>
            <pc:sldMk cId="2270051247" sldId="261"/>
            <ac:picMk id="8" creationId="{6D2EDB92-8DAF-271E-894F-40B570491CCC}"/>
          </ac:picMkLst>
        </pc:picChg>
        <pc:picChg chg="add del mod">
          <ac:chgData name="Abdo YOUNES" userId="410625cc-30c9-462b-9b51-d67c878f9deb" providerId="ADAL" clId="{3CD0031A-BFCC-4C46-98F4-C146996B7387}" dt="2023-11-09T09:13:32.812" v="40"/>
          <ac:picMkLst>
            <pc:docMk/>
            <pc:sldMk cId="2270051247" sldId="261"/>
            <ac:picMk id="9" creationId="{C7B4D0D6-7C20-8869-C3BE-179786D31257}"/>
          </ac:picMkLst>
        </pc:picChg>
        <pc:picChg chg="add del mod">
          <ac:chgData name="Abdo YOUNES" userId="410625cc-30c9-462b-9b51-d67c878f9deb" providerId="ADAL" clId="{3CD0031A-BFCC-4C46-98F4-C146996B7387}" dt="2023-11-09T09:13:32.812" v="40"/>
          <ac:picMkLst>
            <pc:docMk/>
            <pc:sldMk cId="2270051247" sldId="261"/>
            <ac:picMk id="10" creationId="{D6325B72-8BF5-DC4B-9A62-00A971DD505E}"/>
          </ac:picMkLst>
        </pc:picChg>
        <pc:picChg chg="add del mod">
          <ac:chgData name="Abdo YOUNES" userId="410625cc-30c9-462b-9b51-d67c878f9deb" providerId="ADAL" clId="{3CD0031A-BFCC-4C46-98F4-C146996B7387}" dt="2023-11-09T09:13:32.812" v="40"/>
          <ac:picMkLst>
            <pc:docMk/>
            <pc:sldMk cId="2270051247" sldId="261"/>
            <ac:picMk id="11" creationId="{ABBF9C98-1049-8CC9-833E-A3FA19C86163}"/>
          </ac:picMkLst>
        </pc:picChg>
        <pc:picChg chg="add del mod">
          <ac:chgData name="Abdo YOUNES" userId="410625cc-30c9-462b-9b51-d67c878f9deb" providerId="ADAL" clId="{3CD0031A-BFCC-4C46-98F4-C146996B7387}" dt="2023-11-09T09:13:32.812" v="40"/>
          <ac:picMkLst>
            <pc:docMk/>
            <pc:sldMk cId="2270051247" sldId="261"/>
            <ac:picMk id="12" creationId="{F4C90343-A581-3B6A-D76F-D730E667DFA5}"/>
          </ac:picMkLst>
        </pc:picChg>
        <pc:picChg chg="add del mod">
          <ac:chgData name="Abdo YOUNES" userId="410625cc-30c9-462b-9b51-d67c878f9deb" providerId="ADAL" clId="{3CD0031A-BFCC-4C46-98F4-C146996B7387}" dt="2023-11-09T09:14:31.429" v="45" actId="931"/>
          <ac:picMkLst>
            <pc:docMk/>
            <pc:sldMk cId="2270051247" sldId="261"/>
            <ac:picMk id="14" creationId="{A239182F-2196-F965-74C5-0F26B95868E6}"/>
          </ac:picMkLst>
        </pc:picChg>
      </pc:sldChg>
      <pc:sldChg chg="addSp delSp modSp mod">
        <pc:chgData name="Abdo YOUNES" userId="410625cc-30c9-462b-9b51-d67c878f9deb" providerId="ADAL" clId="{3CD0031A-BFCC-4C46-98F4-C146996B7387}" dt="2023-11-09T09:54:53.274" v="517" actId="1076"/>
        <pc:sldMkLst>
          <pc:docMk/>
          <pc:sldMk cId="2122132644" sldId="262"/>
        </pc:sldMkLst>
        <pc:spChg chg="del">
          <ac:chgData name="Abdo YOUNES" userId="410625cc-30c9-462b-9b51-d67c878f9deb" providerId="ADAL" clId="{3CD0031A-BFCC-4C46-98F4-C146996B7387}" dt="2023-11-09T09:33:19.162" v="311" actId="478"/>
          <ac:spMkLst>
            <pc:docMk/>
            <pc:sldMk cId="2122132644" sldId="262"/>
            <ac:spMk id="2" creationId="{67B640A4-74B0-3828-3561-FD6133F52172}"/>
          </ac:spMkLst>
        </pc:spChg>
        <pc:spChg chg="del">
          <ac:chgData name="Abdo YOUNES" userId="410625cc-30c9-462b-9b51-d67c878f9deb" providerId="ADAL" clId="{3CD0031A-BFCC-4C46-98F4-C146996B7387}" dt="2023-11-09T09:33:19.996" v="312" actId="478"/>
          <ac:spMkLst>
            <pc:docMk/>
            <pc:sldMk cId="2122132644" sldId="262"/>
            <ac:spMk id="3" creationId="{C7BD3240-DD5A-4667-649C-CD9F7B0F3546}"/>
          </ac:spMkLst>
        </pc:spChg>
        <pc:spChg chg="mod">
          <ac:chgData name="Abdo YOUNES" userId="410625cc-30c9-462b-9b51-d67c878f9deb" providerId="ADAL" clId="{3CD0031A-BFCC-4C46-98F4-C146996B7387}" dt="2023-11-09T09:54:53.274" v="517" actId="1076"/>
          <ac:spMkLst>
            <pc:docMk/>
            <pc:sldMk cId="2122132644" sldId="262"/>
            <ac:spMk id="4" creationId="{9411F6CD-33D5-95B0-3CE7-2C6562F78FD7}"/>
          </ac:spMkLst>
        </pc:spChg>
        <pc:spChg chg="mod">
          <ac:chgData name="Abdo YOUNES" userId="410625cc-30c9-462b-9b51-d67c878f9deb" providerId="ADAL" clId="{3CD0031A-BFCC-4C46-98F4-C146996B7387}" dt="2023-11-09T09:54:50.113" v="516" actId="1076"/>
          <ac:spMkLst>
            <pc:docMk/>
            <pc:sldMk cId="2122132644" sldId="262"/>
            <ac:spMk id="5" creationId="{CE926717-48A0-9B74-B8A3-F6B4112D0B16}"/>
          </ac:spMkLst>
        </pc:spChg>
        <pc:spChg chg="add mod">
          <ac:chgData name="Abdo YOUNES" userId="410625cc-30c9-462b-9b51-d67c878f9deb" providerId="ADAL" clId="{3CD0031A-BFCC-4C46-98F4-C146996B7387}" dt="2023-11-09T09:20:52.094" v="101"/>
          <ac:spMkLst>
            <pc:docMk/>
            <pc:sldMk cId="2122132644" sldId="262"/>
            <ac:spMk id="7" creationId="{E4638AB9-99B7-909E-56DE-4CCC0D9A80C6}"/>
          </ac:spMkLst>
        </pc:spChg>
        <pc:spChg chg="add del mod">
          <ac:chgData name="Abdo YOUNES" userId="410625cc-30c9-462b-9b51-d67c878f9deb" providerId="ADAL" clId="{3CD0031A-BFCC-4C46-98F4-C146996B7387}" dt="2023-11-09T09:33:36.240" v="316"/>
          <ac:spMkLst>
            <pc:docMk/>
            <pc:sldMk cId="2122132644" sldId="262"/>
            <ac:spMk id="8" creationId="{8F98F794-89AA-193D-FABF-BB01700287DB}"/>
          </ac:spMkLst>
        </pc:spChg>
        <pc:spChg chg="add mod">
          <ac:chgData name="Abdo YOUNES" userId="410625cc-30c9-462b-9b51-d67c878f9deb" providerId="ADAL" clId="{3CD0031A-BFCC-4C46-98F4-C146996B7387}" dt="2023-11-09T09:41:48.583" v="415" actId="1076"/>
          <ac:spMkLst>
            <pc:docMk/>
            <pc:sldMk cId="2122132644" sldId="262"/>
            <ac:spMk id="11" creationId="{84FDE6D0-B804-0B48-DEB6-B233934BABEB}"/>
          </ac:spMkLst>
        </pc:spChg>
        <pc:spChg chg="add mod">
          <ac:chgData name="Abdo YOUNES" userId="410625cc-30c9-462b-9b51-d67c878f9deb" providerId="ADAL" clId="{3CD0031A-BFCC-4C46-98F4-C146996B7387}" dt="2023-11-09T09:40:01.736" v="412" actId="114"/>
          <ac:spMkLst>
            <pc:docMk/>
            <pc:sldMk cId="2122132644" sldId="262"/>
            <ac:spMk id="14" creationId="{A6EAF922-F0B7-F2A9-AF0E-2456E6FEC174}"/>
          </ac:spMkLst>
        </pc:spChg>
        <pc:spChg chg="add mod">
          <ac:chgData name="Abdo YOUNES" userId="410625cc-30c9-462b-9b51-d67c878f9deb" providerId="ADAL" clId="{3CD0031A-BFCC-4C46-98F4-C146996B7387}" dt="2023-11-09T09:40:09.250" v="413" actId="108"/>
          <ac:spMkLst>
            <pc:docMk/>
            <pc:sldMk cId="2122132644" sldId="262"/>
            <ac:spMk id="18" creationId="{425734CD-5762-3055-C89B-A15518467198}"/>
          </ac:spMkLst>
        </pc:spChg>
        <pc:spChg chg="add mod">
          <ac:chgData name="Abdo YOUNES" userId="410625cc-30c9-462b-9b51-d67c878f9deb" providerId="ADAL" clId="{3CD0031A-BFCC-4C46-98F4-C146996B7387}" dt="2023-11-09T09:36:19.117" v="350" actId="1076"/>
          <ac:spMkLst>
            <pc:docMk/>
            <pc:sldMk cId="2122132644" sldId="262"/>
            <ac:spMk id="22" creationId="{BF03F78F-5F42-AE05-DFF8-4573D0A4A509}"/>
          </ac:spMkLst>
        </pc:spChg>
        <pc:spChg chg="add mod">
          <ac:chgData name="Abdo YOUNES" userId="410625cc-30c9-462b-9b51-d67c878f9deb" providerId="ADAL" clId="{3CD0031A-BFCC-4C46-98F4-C146996B7387}" dt="2023-11-09T09:36:20.256" v="352" actId="108"/>
          <ac:spMkLst>
            <pc:docMk/>
            <pc:sldMk cId="2122132644" sldId="262"/>
            <ac:spMk id="23" creationId="{056B2DA2-982C-A85B-4409-5743BDA4FB40}"/>
          </ac:spMkLst>
        </pc:spChg>
        <pc:spChg chg="add del mod">
          <ac:chgData name="Abdo YOUNES" userId="410625cc-30c9-462b-9b51-d67c878f9deb" providerId="ADAL" clId="{3CD0031A-BFCC-4C46-98F4-C146996B7387}" dt="2023-11-09T09:35:27.032" v="337"/>
          <ac:spMkLst>
            <pc:docMk/>
            <pc:sldMk cId="2122132644" sldId="262"/>
            <ac:spMk id="24" creationId="{BEC2B877-CE69-2BA1-24D8-60D7A24FF5A6}"/>
          </ac:spMkLst>
        </pc:spChg>
        <pc:spChg chg="add del mod">
          <ac:chgData name="Abdo YOUNES" userId="410625cc-30c9-462b-9b51-d67c878f9deb" providerId="ADAL" clId="{3CD0031A-BFCC-4C46-98F4-C146996B7387}" dt="2023-11-09T09:35:27.032" v="337"/>
          <ac:spMkLst>
            <pc:docMk/>
            <pc:sldMk cId="2122132644" sldId="262"/>
            <ac:spMk id="25" creationId="{EBDDFDAC-DD42-B2D8-823C-0D270B8C2D73}"/>
          </ac:spMkLst>
        </pc:spChg>
        <pc:spChg chg="add del mod">
          <ac:chgData name="Abdo YOUNES" userId="410625cc-30c9-462b-9b51-d67c878f9deb" providerId="ADAL" clId="{3CD0031A-BFCC-4C46-98F4-C146996B7387}" dt="2023-11-09T09:35:31.042" v="339"/>
          <ac:spMkLst>
            <pc:docMk/>
            <pc:sldMk cId="2122132644" sldId="262"/>
            <ac:spMk id="26" creationId="{93994714-EB31-A4EB-8B61-B1CF023AC8DE}"/>
          </ac:spMkLst>
        </pc:spChg>
        <pc:spChg chg="add del mod">
          <ac:chgData name="Abdo YOUNES" userId="410625cc-30c9-462b-9b51-d67c878f9deb" providerId="ADAL" clId="{3CD0031A-BFCC-4C46-98F4-C146996B7387}" dt="2023-11-09T09:35:31.042" v="339"/>
          <ac:spMkLst>
            <pc:docMk/>
            <pc:sldMk cId="2122132644" sldId="262"/>
            <ac:spMk id="27" creationId="{D7789BBF-CFA6-19BD-2F26-976A67B1B74A}"/>
          </ac:spMkLst>
        </pc:spChg>
        <pc:spChg chg="add del mod">
          <ac:chgData name="Abdo YOUNES" userId="410625cc-30c9-462b-9b51-d67c878f9deb" providerId="ADAL" clId="{3CD0031A-BFCC-4C46-98F4-C146996B7387}" dt="2023-11-09T09:35:36.530" v="341"/>
          <ac:spMkLst>
            <pc:docMk/>
            <pc:sldMk cId="2122132644" sldId="262"/>
            <ac:spMk id="28" creationId="{42A27DFA-0010-858B-1DB8-228A07441414}"/>
          </ac:spMkLst>
        </pc:spChg>
        <pc:spChg chg="add del mod">
          <ac:chgData name="Abdo YOUNES" userId="410625cc-30c9-462b-9b51-d67c878f9deb" providerId="ADAL" clId="{3CD0031A-BFCC-4C46-98F4-C146996B7387}" dt="2023-11-09T09:35:36.530" v="341"/>
          <ac:spMkLst>
            <pc:docMk/>
            <pc:sldMk cId="2122132644" sldId="262"/>
            <ac:spMk id="29" creationId="{AE9A2F8A-4B27-3278-F7CC-4E0EC63E7365}"/>
          </ac:spMkLst>
        </pc:spChg>
        <pc:spChg chg="add mod ord">
          <ac:chgData name="Abdo YOUNES" userId="410625cc-30c9-462b-9b51-d67c878f9deb" providerId="ADAL" clId="{3CD0031A-BFCC-4C46-98F4-C146996B7387}" dt="2023-11-09T09:38:14.459" v="370" actId="1076"/>
          <ac:spMkLst>
            <pc:docMk/>
            <pc:sldMk cId="2122132644" sldId="262"/>
            <ac:spMk id="30" creationId="{B3580518-21D3-513F-1AEE-D5FE392FA7A3}"/>
          </ac:spMkLst>
        </pc:spChg>
        <pc:spChg chg="add mod">
          <ac:chgData name="Abdo YOUNES" userId="410625cc-30c9-462b-9b51-d67c878f9deb" providerId="ADAL" clId="{3CD0031A-BFCC-4C46-98F4-C146996B7387}" dt="2023-11-09T09:36:31.613" v="356" actId="1076"/>
          <ac:spMkLst>
            <pc:docMk/>
            <pc:sldMk cId="2122132644" sldId="262"/>
            <ac:spMk id="31" creationId="{5FC55299-6934-CD7E-D811-DB7FE3B1F0A6}"/>
          </ac:spMkLst>
        </pc:spChg>
        <pc:spChg chg="add mod">
          <ac:chgData name="Abdo YOUNES" userId="410625cc-30c9-462b-9b51-d67c878f9deb" providerId="ADAL" clId="{3CD0031A-BFCC-4C46-98F4-C146996B7387}" dt="2023-11-09T09:38:41.464" v="376" actId="20577"/>
          <ac:spMkLst>
            <pc:docMk/>
            <pc:sldMk cId="2122132644" sldId="262"/>
            <ac:spMk id="32" creationId="{5BD0D8A9-5235-BC12-60BC-F012AEB94918}"/>
          </ac:spMkLst>
        </pc:spChg>
        <pc:spChg chg="add mod">
          <ac:chgData name="Abdo YOUNES" userId="410625cc-30c9-462b-9b51-d67c878f9deb" providerId="ADAL" clId="{3CD0031A-BFCC-4C46-98F4-C146996B7387}" dt="2023-11-09T09:38:24.159" v="371" actId="1076"/>
          <ac:spMkLst>
            <pc:docMk/>
            <pc:sldMk cId="2122132644" sldId="262"/>
            <ac:spMk id="33" creationId="{50F5446A-046D-4C02-A966-F940271F8827}"/>
          </ac:spMkLst>
        </pc:spChg>
        <pc:spChg chg="add mod">
          <ac:chgData name="Abdo YOUNES" userId="410625cc-30c9-462b-9b51-d67c878f9deb" providerId="ADAL" clId="{3CD0031A-BFCC-4C46-98F4-C146996B7387}" dt="2023-11-09T09:38:51.673" v="380" actId="20577"/>
          <ac:spMkLst>
            <pc:docMk/>
            <pc:sldMk cId="2122132644" sldId="262"/>
            <ac:spMk id="34" creationId="{50195EFA-EDA2-577C-C47F-59F202950E72}"/>
          </ac:spMkLst>
        </pc:spChg>
        <pc:spChg chg="add del mod">
          <ac:chgData name="Abdo YOUNES" userId="410625cc-30c9-462b-9b51-d67c878f9deb" providerId="ADAL" clId="{3CD0031A-BFCC-4C46-98F4-C146996B7387}" dt="2023-11-09T09:39:04.054" v="383" actId="478"/>
          <ac:spMkLst>
            <pc:docMk/>
            <pc:sldMk cId="2122132644" sldId="262"/>
            <ac:spMk id="35" creationId="{AC751622-0D7E-DEC1-C3C4-6AD240FC8175}"/>
          </ac:spMkLst>
        </pc:spChg>
        <pc:spChg chg="add mod">
          <ac:chgData name="Abdo YOUNES" userId="410625cc-30c9-462b-9b51-d67c878f9deb" providerId="ADAL" clId="{3CD0031A-BFCC-4C46-98F4-C146996B7387}" dt="2023-11-09T09:39:17.627" v="401" actId="255"/>
          <ac:spMkLst>
            <pc:docMk/>
            <pc:sldMk cId="2122132644" sldId="262"/>
            <ac:spMk id="36" creationId="{F03CEEF6-0B7B-1AE8-175F-8A2E919F3CF0}"/>
          </ac:spMkLst>
        </pc:spChg>
        <pc:picChg chg="add mod">
          <ac:chgData name="Abdo YOUNES" userId="410625cc-30c9-462b-9b51-d67c878f9deb" providerId="ADAL" clId="{3CD0031A-BFCC-4C46-98F4-C146996B7387}" dt="2023-11-09T09:37:57.215" v="364" actId="1076"/>
          <ac:picMkLst>
            <pc:docMk/>
            <pc:sldMk cId="2122132644" sldId="262"/>
            <ac:picMk id="9" creationId="{E43BEA28-3256-A8CD-DE68-4AC4A44EDA30}"/>
          </ac:picMkLst>
        </pc:picChg>
        <pc:picChg chg="add del mod">
          <ac:chgData name="Abdo YOUNES" userId="410625cc-30c9-462b-9b51-d67c878f9deb" providerId="ADAL" clId="{3CD0031A-BFCC-4C46-98F4-C146996B7387}" dt="2023-11-09T09:37:54.909" v="363" actId="478"/>
          <ac:picMkLst>
            <pc:docMk/>
            <pc:sldMk cId="2122132644" sldId="262"/>
            <ac:picMk id="10" creationId="{0AF2D489-B10F-27BA-0F4D-2BDBB2D5CCB2}"/>
          </ac:picMkLst>
        </pc:picChg>
        <pc:picChg chg="add mod">
          <ac:chgData name="Abdo YOUNES" userId="410625cc-30c9-462b-9b51-d67c878f9deb" providerId="ADAL" clId="{3CD0031A-BFCC-4C46-98F4-C146996B7387}" dt="2023-11-09T09:34:08.634" v="325" actId="1076"/>
          <ac:picMkLst>
            <pc:docMk/>
            <pc:sldMk cId="2122132644" sldId="262"/>
            <ac:picMk id="12" creationId="{BD80E97C-3B67-19A9-C4C4-3BC57E80DCC1}"/>
          </ac:picMkLst>
        </pc:picChg>
        <pc:picChg chg="add mod">
          <ac:chgData name="Abdo YOUNES" userId="410625cc-30c9-462b-9b51-d67c878f9deb" providerId="ADAL" clId="{3CD0031A-BFCC-4C46-98F4-C146996B7387}" dt="2023-11-09T09:34:06.765" v="324" actId="1076"/>
          <ac:picMkLst>
            <pc:docMk/>
            <pc:sldMk cId="2122132644" sldId="262"/>
            <ac:picMk id="13" creationId="{1D163F1B-A7B1-0C8E-F645-530CB589726E}"/>
          </ac:picMkLst>
        </pc:picChg>
        <pc:picChg chg="add mod">
          <ac:chgData name="Abdo YOUNES" userId="410625cc-30c9-462b-9b51-d67c878f9deb" providerId="ADAL" clId="{3CD0031A-BFCC-4C46-98F4-C146996B7387}" dt="2023-11-09T09:34:25.283" v="327" actId="1076"/>
          <ac:picMkLst>
            <pc:docMk/>
            <pc:sldMk cId="2122132644" sldId="262"/>
            <ac:picMk id="15" creationId="{1F5DF3A9-5F50-FB16-0B2E-4A1F77F2E2E0}"/>
          </ac:picMkLst>
        </pc:picChg>
        <pc:picChg chg="add mod">
          <ac:chgData name="Abdo YOUNES" userId="410625cc-30c9-462b-9b51-d67c878f9deb" providerId="ADAL" clId="{3CD0031A-BFCC-4C46-98F4-C146996B7387}" dt="2023-11-09T09:34:25.283" v="327" actId="1076"/>
          <ac:picMkLst>
            <pc:docMk/>
            <pc:sldMk cId="2122132644" sldId="262"/>
            <ac:picMk id="16" creationId="{2466F77D-8988-2210-F60D-88322F059E09}"/>
          </ac:picMkLst>
        </pc:picChg>
        <pc:picChg chg="add mod">
          <ac:chgData name="Abdo YOUNES" userId="410625cc-30c9-462b-9b51-d67c878f9deb" providerId="ADAL" clId="{3CD0031A-BFCC-4C46-98F4-C146996B7387}" dt="2023-11-09T09:34:25.283" v="327" actId="1076"/>
          <ac:picMkLst>
            <pc:docMk/>
            <pc:sldMk cId="2122132644" sldId="262"/>
            <ac:picMk id="17" creationId="{7E8B7004-1422-E4D0-E043-4BF4A7364064}"/>
          </ac:picMkLst>
        </pc:picChg>
        <pc:picChg chg="add mod">
          <ac:chgData name="Abdo YOUNES" userId="410625cc-30c9-462b-9b51-d67c878f9deb" providerId="ADAL" clId="{3CD0031A-BFCC-4C46-98F4-C146996B7387}" dt="2023-11-09T09:34:37.335" v="329" actId="1076"/>
          <ac:picMkLst>
            <pc:docMk/>
            <pc:sldMk cId="2122132644" sldId="262"/>
            <ac:picMk id="19" creationId="{C5C3B148-3EB0-610C-4D2F-43F35FAE69CA}"/>
          </ac:picMkLst>
        </pc:picChg>
        <pc:picChg chg="add mod">
          <ac:chgData name="Abdo YOUNES" userId="410625cc-30c9-462b-9b51-d67c878f9deb" providerId="ADAL" clId="{3CD0031A-BFCC-4C46-98F4-C146996B7387}" dt="2023-11-09T09:34:37.335" v="329" actId="1076"/>
          <ac:picMkLst>
            <pc:docMk/>
            <pc:sldMk cId="2122132644" sldId="262"/>
            <ac:picMk id="20" creationId="{9357F079-A00A-F1C0-287E-0A39AFEB9A50}"/>
          </ac:picMkLst>
        </pc:picChg>
        <pc:picChg chg="add mod">
          <ac:chgData name="Abdo YOUNES" userId="410625cc-30c9-462b-9b51-d67c878f9deb" providerId="ADAL" clId="{3CD0031A-BFCC-4C46-98F4-C146996B7387}" dt="2023-11-09T09:34:37.335" v="329" actId="1076"/>
          <ac:picMkLst>
            <pc:docMk/>
            <pc:sldMk cId="2122132644" sldId="262"/>
            <ac:picMk id="21" creationId="{6CE396BE-35D6-F722-61E9-2B0AC43F5560}"/>
          </ac:picMkLst>
        </pc:picChg>
      </pc:sldChg>
      <pc:sldChg chg="addSp delSp modSp mod">
        <pc:chgData name="Abdo YOUNES" userId="410625cc-30c9-462b-9b51-d67c878f9deb" providerId="ADAL" clId="{3CD0031A-BFCC-4C46-98F4-C146996B7387}" dt="2023-11-09T09:52:19.890" v="512" actId="1076"/>
        <pc:sldMkLst>
          <pc:docMk/>
          <pc:sldMk cId="1571575077" sldId="263"/>
        </pc:sldMkLst>
        <pc:spChg chg="mod">
          <ac:chgData name="Abdo YOUNES" userId="410625cc-30c9-462b-9b51-d67c878f9deb" providerId="ADAL" clId="{3CD0031A-BFCC-4C46-98F4-C146996B7387}" dt="2023-11-09T09:46:29.221" v="459" actId="1076"/>
          <ac:spMkLst>
            <pc:docMk/>
            <pc:sldMk cId="1571575077" sldId="263"/>
            <ac:spMk id="2" creationId="{C3EA9456-6FA9-C391-96FB-05C6F96FE0DF}"/>
          </ac:spMkLst>
        </pc:spChg>
        <pc:spChg chg="mod">
          <ac:chgData name="Abdo YOUNES" userId="410625cc-30c9-462b-9b51-d67c878f9deb" providerId="ADAL" clId="{3CD0031A-BFCC-4C46-98F4-C146996B7387}" dt="2023-11-09T09:46:26.222" v="458" actId="1076"/>
          <ac:spMkLst>
            <pc:docMk/>
            <pc:sldMk cId="1571575077" sldId="263"/>
            <ac:spMk id="3" creationId="{670C5D04-2877-E1FA-5415-0BC95E0F27E2}"/>
          </ac:spMkLst>
        </pc:spChg>
        <pc:spChg chg="del">
          <ac:chgData name="Abdo YOUNES" userId="410625cc-30c9-462b-9b51-d67c878f9deb" providerId="ADAL" clId="{3CD0031A-BFCC-4C46-98F4-C146996B7387}" dt="2023-11-09T09:43:28.722" v="421" actId="478"/>
          <ac:spMkLst>
            <pc:docMk/>
            <pc:sldMk cId="1571575077" sldId="263"/>
            <ac:spMk id="4" creationId="{BF36FD90-CCA3-5D6A-0050-430267548A0F}"/>
          </ac:spMkLst>
        </pc:spChg>
        <pc:spChg chg="del">
          <ac:chgData name="Abdo YOUNES" userId="410625cc-30c9-462b-9b51-d67c878f9deb" providerId="ADAL" clId="{3CD0031A-BFCC-4C46-98F4-C146996B7387}" dt="2023-11-09T09:43:27.157" v="420" actId="478"/>
          <ac:spMkLst>
            <pc:docMk/>
            <pc:sldMk cId="1571575077" sldId="263"/>
            <ac:spMk id="5" creationId="{BA7339A2-0499-67C4-C6A6-FC7EA394F03B}"/>
          </ac:spMkLst>
        </pc:spChg>
        <pc:spChg chg="add mod">
          <ac:chgData name="Abdo YOUNES" userId="410625cc-30c9-462b-9b51-d67c878f9deb" providerId="ADAL" clId="{3CD0031A-BFCC-4C46-98F4-C146996B7387}" dt="2023-11-09T09:20:56.345" v="106" actId="1036"/>
          <ac:spMkLst>
            <pc:docMk/>
            <pc:sldMk cId="1571575077" sldId="263"/>
            <ac:spMk id="7" creationId="{641584A0-FE6C-A9AC-02F9-99A1652B71A4}"/>
          </ac:spMkLst>
        </pc:spChg>
        <pc:spChg chg="add del mod">
          <ac:chgData name="Abdo YOUNES" userId="410625cc-30c9-462b-9b51-d67c878f9deb" providerId="ADAL" clId="{3CD0031A-BFCC-4C46-98F4-C146996B7387}" dt="2023-11-09T09:20:55.541" v="105"/>
          <ac:spMkLst>
            <pc:docMk/>
            <pc:sldMk cId="1571575077" sldId="263"/>
            <ac:spMk id="8" creationId="{04C0B559-78F8-C697-6B62-07CFBBEACA68}"/>
          </ac:spMkLst>
        </pc:spChg>
        <pc:spChg chg="add mod">
          <ac:chgData name="Abdo YOUNES" userId="410625cc-30c9-462b-9b51-d67c878f9deb" providerId="ADAL" clId="{3CD0031A-BFCC-4C46-98F4-C146996B7387}" dt="2023-11-09T09:46:44.378" v="461" actId="164"/>
          <ac:spMkLst>
            <pc:docMk/>
            <pc:sldMk cId="1571575077" sldId="263"/>
            <ac:spMk id="9" creationId="{2AFACA5F-5DD6-C0DB-B641-1397FF4F6632}"/>
          </ac:spMkLst>
        </pc:spChg>
        <pc:spChg chg="add mod">
          <ac:chgData name="Abdo YOUNES" userId="410625cc-30c9-462b-9b51-d67c878f9deb" providerId="ADAL" clId="{3CD0031A-BFCC-4C46-98F4-C146996B7387}" dt="2023-11-09T09:46:44.378" v="461" actId="164"/>
          <ac:spMkLst>
            <pc:docMk/>
            <pc:sldMk cId="1571575077" sldId="263"/>
            <ac:spMk id="11" creationId="{4FE30903-7992-8040-C0E0-08F96CE7DEDA}"/>
          </ac:spMkLst>
        </pc:spChg>
        <pc:spChg chg="mod">
          <ac:chgData name="Abdo YOUNES" userId="410625cc-30c9-462b-9b51-d67c878f9deb" providerId="ADAL" clId="{3CD0031A-BFCC-4C46-98F4-C146996B7387}" dt="2023-11-09T09:44:07.726" v="430"/>
          <ac:spMkLst>
            <pc:docMk/>
            <pc:sldMk cId="1571575077" sldId="263"/>
            <ac:spMk id="15" creationId="{11AB4FB8-539C-F72D-3042-57C741CC27B9}"/>
          </ac:spMkLst>
        </pc:spChg>
        <pc:spChg chg="mod">
          <ac:chgData name="Abdo YOUNES" userId="410625cc-30c9-462b-9b51-d67c878f9deb" providerId="ADAL" clId="{3CD0031A-BFCC-4C46-98F4-C146996B7387}" dt="2023-11-09T09:44:07.726" v="430"/>
          <ac:spMkLst>
            <pc:docMk/>
            <pc:sldMk cId="1571575077" sldId="263"/>
            <ac:spMk id="18" creationId="{0D118527-B16E-F188-E00F-04A898D340D1}"/>
          </ac:spMkLst>
        </pc:spChg>
        <pc:spChg chg="mod">
          <ac:chgData name="Abdo YOUNES" userId="410625cc-30c9-462b-9b51-d67c878f9deb" providerId="ADAL" clId="{3CD0031A-BFCC-4C46-98F4-C146996B7387}" dt="2023-11-09T09:44:07.726" v="430"/>
          <ac:spMkLst>
            <pc:docMk/>
            <pc:sldMk cId="1571575077" sldId="263"/>
            <ac:spMk id="19" creationId="{A92A0D03-1590-0A11-A2AF-1E658FEFCEE1}"/>
          </ac:spMkLst>
        </pc:spChg>
        <pc:spChg chg="mod">
          <ac:chgData name="Abdo YOUNES" userId="410625cc-30c9-462b-9b51-d67c878f9deb" providerId="ADAL" clId="{3CD0031A-BFCC-4C46-98F4-C146996B7387}" dt="2023-11-09T09:44:07.726" v="430"/>
          <ac:spMkLst>
            <pc:docMk/>
            <pc:sldMk cId="1571575077" sldId="263"/>
            <ac:spMk id="20" creationId="{39CB9025-A02E-D485-3D8B-0E540BB0C303}"/>
          </ac:spMkLst>
        </pc:spChg>
        <pc:spChg chg="mod">
          <ac:chgData name="Abdo YOUNES" userId="410625cc-30c9-462b-9b51-d67c878f9deb" providerId="ADAL" clId="{3CD0031A-BFCC-4C46-98F4-C146996B7387}" dt="2023-11-09T09:47:14.332" v="464" actId="1076"/>
          <ac:spMkLst>
            <pc:docMk/>
            <pc:sldMk cId="1571575077" sldId="263"/>
            <ac:spMk id="21" creationId="{E0F8D732-7EEE-00CB-E43E-19F073C27E88}"/>
          </ac:spMkLst>
        </pc:spChg>
        <pc:spChg chg="mod">
          <ac:chgData name="Abdo YOUNES" userId="410625cc-30c9-462b-9b51-d67c878f9deb" providerId="ADAL" clId="{3CD0031A-BFCC-4C46-98F4-C146996B7387}" dt="2023-11-09T09:47:47.320" v="471" actId="1076"/>
          <ac:spMkLst>
            <pc:docMk/>
            <pc:sldMk cId="1571575077" sldId="263"/>
            <ac:spMk id="22" creationId="{C80E31E0-8267-FCDE-CB00-FA5A0C942D09}"/>
          </ac:spMkLst>
        </pc:spChg>
        <pc:spChg chg="mod">
          <ac:chgData name="Abdo YOUNES" userId="410625cc-30c9-462b-9b51-d67c878f9deb" providerId="ADAL" clId="{3CD0031A-BFCC-4C46-98F4-C146996B7387}" dt="2023-11-09T09:47:38.986" v="469" actId="1076"/>
          <ac:spMkLst>
            <pc:docMk/>
            <pc:sldMk cId="1571575077" sldId="263"/>
            <ac:spMk id="23" creationId="{85DD2D43-2419-5DE7-A41C-82B8DC77A4D8}"/>
          </ac:spMkLst>
        </pc:spChg>
        <pc:spChg chg="mod">
          <ac:chgData name="Abdo YOUNES" userId="410625cc-30c9-462b-9b51-d67c878f9deb" providerId="ADAL" clId="{3CD0031A-BFCC-4C46-98F4-C146996B7387}" dt="2023-11-09T09:47:22.571" v="466" actId="1076"/>
          <ac:spMkLst>
            <pc:docMk/>
            <pc:sldMk cId="1571575077" sldId="263"/>
            <ac:spMk id="24" creationId="{3D465B86-C14A-EA2F-EFBF-0F1AE46F1F7B}"/>
          </ac:spMkLst>
        </pc:spChg>
        <pc:spChg chg="mod">
          <ac:chgData name="Abdo YOUNES" userId="410625cc-30c9-462b-9b51-d67c878f9deb" providerId="ADAL" clId="{3CD0031A-BFCC-4C46-98F4-C146996B7387}" dt="2023-11-09T09:48:36.376" v="484"/>
          <ac:spMkLst>
            <pc:docMk/>
            <pc:sldMk cId="1571575077" sldId="263"/>
            <ac:spMk id="25" creationId="{A773DEBC-6EE3-81D2-AE74-31F8B19C3A68}"/>
          </ac:spMkLst>
        </pc:spChg>
        <pc:spChg chg="mod">
          <ac:chgData name="Abdo YOUNES" userId="410625cc-30c9-462b-9b51-d67c878f9deb" providerId="ADAL" clId="{3CD0031A-BFCC-4C46-98F4-C146996B7387}" dt="2023-11-09T09:47:42.233" v="470" actId="1076"/>
          <ac:spMkLst>
            <pc:docMk/>
            <pc:sldMk cId="1571575077" sldId="263"/>
            <ac:spMk id="26" creationId="{D08AC436-5399-4EFF-6D89-2F3DD123A029}"/>
          </ac:spMkLst>
        </pc:spChg>
        <pc:spChg chg="add mod">
          <ac:chgData name="Abdo YOUNES" userId="410625cc-30c9-462b-9b51-d67c878f9deb" providerId="ADAL" clId="{3CD0031A-BFCC-4C46-98F4-C146996B7387}" dt="2023-11-09T09:44:18.715" v="433" actId="1076"/>
          <ac:spMkLst>
            <pc:docMk/>
            <pc:sldMk cId="1571575077" sldId="263"/>
            <ac:spMk id="27" creationId="{64045E92-54AD-F1D6-794B-340895570F17}"/>
          </ac:spMkLst>
        </pc:spChg>
        <pc:spChg chg="add mod">
          <ac:chgData name="Abdo YOUNES" userId="410625cc-30c9-462b-9b51-d67c878f9deb" providerId="ADAL" clId="{3CD0031A-BFCC-4C46-98F4-C146996B7387}" dt="2023-11-09T09:47:57.275" v="473" actId="1076"/>
          <ac:spMkLst>
            <pc:docMk/>
            <pc:sldMk cId="1571575077" sldId="263"/>
            <ac:spMk id="30" creationId="{4CD965ED-DAAB-0574-5A1A-CF0147D7403A}"/>
          </ac:spMkLst>
        </pc:spChg>
        <pc:spChg chg="add mod">
          <ac:chgData name="Abdo YOUNES" userId="410625cc-30c9-462b-9b51-d67c878f9deb" providerId="ADAL" clId="{3CD0031A-BFCC-4C46-98F4-C146996B7387}" dt="2023-11-09T09:48:05.895" v="476" actId="1076"/>
          <ac:spMkLst>
            <pc:docMk/>
            <pc:sldMk cId="1571575077" sldId="263"/>
            <ac:spMk id="33" creationId="{DEB1C528-DD48-14F4-9A4A-4E7673A4D272}"/>
          </ac:spMkLst>
        </pc:spChg>
        <pc:spChg chg="add mod">
          <ac:chgData name="Abdo YOUNES" userId="410625cc-30c9-462b-9b51-d67c878f9deb" providerId="ADAL" clId="{3CD0031A-BFCC-4C46-98F4-C146996B7387}" dt="2023-11-09T09:50:10.252" v="505" actId="1076"/>
          <ac:spMkLst>
            <pc:docMk/>
            <pc:sldMk cId="1571575077" sldId="263"/>
            <ac:spMk id="36" creationId="{EAD1B9C8-DCB1-38E3-ACEA-DBD7F1852C24}"/>
          </ac:spMkLst>
        </pc:spChg>
        <pc:spChg chg="add del mod">
          <ac:chgData name="Abdo YOUNES" userId="410625cc-30c9-462b-9b51-d67c878f9deb" providerId="ADAL" clId="{3CD0031A-BFCC-4C46-98F4-C146996B7387}" dt="2023-11-09T09:45:58.817" v="452"/>
          <ac:spMkLst>
            <pc:docMk/>
            <pc:sldMk cId="1571575077" sldId="263"/>
            <ac:spMk id="39" creationId="{EF2107BB-A398-81FB-8205-AF5927CA1442}"/>
          </ac:spMkLst>
        </pc:spChg>
        <pc:spChg chg="add del mod">
          <ac:chgData name="Abdo YOUNES" userId="410625cc-30c9-462b-9b51-d67c878f9deb" providerId="ADAL" clId="{3CD0031A-BFCC-4C46-98F4-C146996B7387}" dt="2023-11-09T09:45:58.817" v="452"/>
          <ac:spMkLst>
            <pc:docMk/>
            <pc:sldMk cId="1571575077" sldId="263"/>
            <ac:spMk id="40" creationId="{22B07047-50A0-2AE0-48E9-0BB9204F7431}"/>
          </ac:spMkLst>
        </pc:spChg>
        <pc:spChg chg="add mod">
          <ac:chgData name="Abdo YOUNES" userId="410625cc-30c9-462b-9b51-d67c878f9deb" providerId="ADAL" clId="{3CD0031A-BFCC-4C46-98F4-C146996B7387}" dt="2023-11-09T09:49:02.086" v="490" actId="108"/>
          <ac:spMkLst>
            <pc:docMk/>
            <pc:sldMk cId="1571575077" sldId="263"/>
            <ac:spMk id="43" creationId="{7FC6D707-502E-C7CD-1EAA-48FF36889A03}"/>
          </ac:spMkLst>
        </pc:spChg>
        <pc:spChg chg="add mod">
          <ac:chgData name="Abdo YOUNES" userId="410625cc-30c9-462b-9b51-d67c878f9deb" providerId="ADAL" clId="{3CD0031A-BFCC-4C46-98F4-C146996B7387}" dt="2023-11-09T09:52:13.150" v="510" actId="1076"/>
          <ac:spMkLst>
            <pc:docMk/>
            <pc:sldMk cId="1571575077" sldId="263"/>
            <ac:spMk id="45" creationId="{B8CEE908-519E-8CCE-E6B0-2AA2965FFF08}"/>
          </ac:spMkLst>
        </pc:spChg>
        <pc:spChg chg="add mod">
          <ac:chgData name="Abdo YOUNES" userId="410625cc-30c9-462b-9b51-d67c878f9deb" providerId="ADAL" clId="{3CD0031A-BFCC-4C46-98F4-C146996B7387}" dt="2023-11-09T09:52:19.890" v="512" actId="1076"/>
          <ac:spMkLst>
            <pc:docMk/>
            <pc:sldMk cId="1571575077" sldId="263"/>
            <ac:spMk id="46" creationId="{9B8FC121-325F-7BA6-557D-A0C46605FFC6}"/>
          </ac:spMkLst>
        </pc:spChg>
        <pc:grpChg chg="add mod">
          <ac:chgData name="Abdo YOUNES" userId="410625cc-30c9-462b-9b51-d67c878f9deb" providerId="ADAL" clId="{3CD0031A-BFCC-4C46-98F4-C146996B7387}" dt="2023-11-09T09:44:10.785" v="431" actId="1076"/>
          <ac:grpSpMkLst>
            <pc:docMk/>
            <pc:sldMk cId="1571575077" sldId="263"/>
            <ac:grpSpMk id="13" creationId="{CDC30B2F-FCED-1D0D-7BF9-AFAA357AB9B9}"/>
          </ac:grpSpMkLst>
        </pc:grpChg>
        <pc:grpChg chg="mod">
          <ac:chgData name="Abdo YOUNES" userId="410625cc-30c9-462b-9b51-d67c878f9deb" providerId="ADAL" clId="{3CD0031A-BFCC-4C46-98F4-C146996B7387}" dt="2023-11-09T09:44:07.726" v="430"/>
          <ac:grpSpMkLst>
            <pc:docMk/>
            <pc:sldMk cId="1571575077" sldId="263"/>
            <ac:grpSpMk id="14" creationId="{38567220-4463-BB74-0B45-624AB7936E15}"/>
          </ac:grpSpMkLst>
        </pc:grpChg>
        <pc:grpChg chg="mod">
          <ac:chgData name="Abdo YOUNES" userId="410625cc-30c9-462b-9b51-d67c878f9deb" providerId="ADAL" clId="{3CD0031A-BFCC-4C46-98F4-C146996B7387}" dt="2023-11-09T09:44:07.726" v="430"/>
          <ac:grpSpMkLst>
            <pc:docMk/>
            <pc:sldMk cId="1571575077" sldId="263"/>
            <ac:grpSpMk id="16" creationId="{E65FFE29-B106-EAF7-955D-67ECE3F28B2F}"/>
          </ac:grpSpMkLst>
        </pc:grpChg>
        <pc:grpChg chg="mod">
          <ac:chgData name="Abdo YOUNES" userId="410625cc-30c9-462b-9b51-d67c878f9deb" providerId="ADAL" clId="{3CD0031A-BFCC-4C46-98F4-C146996B7387}" dt="2023-11-09T09:44:07.726" v="430"/>
          <ac:grpSpMkLst>
            <pc:docMk/>
            <pc:sldMk cId="1571575077" sldId="263"/>
            <ac:grpSpMk id="17" creationId="{F169BE01-74BC-A38B-12C9-DBCE3C3795DF}"/>
          </ac:grpSpMkLst>
        </pc:grpChg>
        <pc:grpChg chg="add mod">
          <ac:chgData name="Abdo YOUNES" userId="410625cc-30c9-462b-9b51-d67c878f9deb" providerId="ADAL" clId="{3CD0031A-BFCC-4C46-98F4-C146996B7387}" dt="2023-11-09T09:47:53.651" v="472" actId="1076"/>
          <ac:grpSpMkLst>
            <pc:docMk/>
            <pc:sldMk cId="1571575077" sldId="263"/>
            <ac:grpSpMk id="41" creationId="{2DB17131-3690-3761-4BD9-83CFF83EB6FC}"/>
          </ac:grpSpMkLst>
        </pc:grpChg>
        <pc:picChg chg="add mod">
          <ac:chgData name="Abdo YOUNES" userId="410625cc-30c9-462b-9b51-d67c878f9deb" providerId="ADAL" clId="{3CD0031A-BFCC-4C46-98F4-C146996B7387}" dt="2023-11-09T09:46:44.378" v="461" actId="164"/>
          <ac:picMkLst>
            <pc:docMk/>
            <pc:sldMk cId="1571575077" sldId="263"/>
            <ac:picMk id="10" creationId="{9F2E5D89-6740-679E-5F76-AAE9C0F76AB0}"/>
          </ac:picMkLst>
        </pc:picChg>
        <pc:picChg chg="add mod">
          <ac:chgData name="Abdo YOUNES" userId="410625cc-30c9-462b-9b51-d67c878f9deb" providerId="ADAL" clId="{3CD0031A-BFCC-4C46-98F4-C146996B7387}" dt="2023-11-09T09:46:44.378" v="461" actId="164"/>
          <ac:picMkLst>
            <pc:docMk/>
            <pc:sldMk cId="1571575077" sldId="263"/>
            <ac:picMk id="12" creationId="{46502A31-7914-9D92-7716-9FAD1163F1AF}"/>
          </ac:picMkLst>
        </pc:picChg>
        <pc:picChg chg="add del mod">
          <ac:chgData name="Abdo YOUNES" userId="410625cc-30c9-462b-9b51-d67c878f9deb" providerId="ADAL" clId="{3CD0031A-BFCC-4C46-98F4-C146996B7387}" dt="2023-11-09T09:49:56.513" v="500" actId="478"/>
          <ac:picMkLst>
            <pc:docMk/>
            <pc:sldMk cId="1571575077" sldId="263"/>
            <ac:picMk id="28" creationId="{C3B28651-099F-3A83-7B45-D3F34302EAB1}"/>
          </ac:picMkLst>
        </pc:picChg>
        <pc:picChg chg="add mod">
          <ac:chgData name="Abdo YOUNES" userId="410625cc-30c9-462b-9b51-d67c878f9deb" providerId="ADAL" clId="{3CD0031A-BFCC-4C46-98F4-C146996B7387}" dt="2023-11-09T09:50:06.283" v="503" actId="14100"/>
          <ac:picMkLst>
            <pc:docMk/>
            <pc:sldMk cId="1571575077" sldId="263"/>
            <ac:picMk id="29" creationId="{4D8A628B-52F8-A219-329A-323A663C8983}"/>
          </ac:picMkLst>
        </pc:picChg>
        <pc:picChg chg="add del mod">
          <ac:chgData name="Abdo YOUNES" userId="410625cc-30c9-462b-9b51-d67c878f9deb" providerId="ADAL" clId="{3CD0031A-BFCC-4C46-98F4-C146996B7387}" dt="2023-11-09T09:49:54.162" v="499" actId="478"/>
          <ac:picMkLst>
            <pc:docMk/>
            <pc:sldMk cId="1571575077" sldId="263"/>
            <ac:picMk id="31" creationId="{233CE8DF-B0BB-5B0D-772F-F3C4C801FD4F}"/>
          </ac:picMkLst>
        </pc:picChg>
        <pc:picChg chg="add mod">
          <ac:chgData name="Abdo YOUNES" userId="410625cc-30c9-462b-9b51-d67c878f9deb" providerId="ADAL" clId="{3CD0031A-BFCC-4C46-98F4-C146996B7387}" dt="2023-11-09T09:50:02.220" v="502" actId="14100"/>
          <ac:picMkLst>
            <pc:docMk/>
            <pc:sldMk cId="1571575077" sldId="263"/>
            <ac:picMk id="32" creationId="{A275075E-E516-619E-0AE1-414145B429EF}"/>
          </ac:picMkLst>
        </pc:picChg>
        <pc:picChg chg="add mod">
          <ac:chgData name="Abdo YOUNES" userId="410625cc-30c9-462b-9b51-d67c878f9deb" providerId="ADAL" clId="{3CD0031A-BFCC-4C46-98F4-C146996B7387}" dt="2023-11-09T09:51:58.966" v="508" actId="1076"/>
          <ac:picMkLst>
            <pc:docMk/>
            <pc:sldMk cId="1571575077" sldId="263"/>
            <ac:picMk id="34" creationId="{473D9E19-34DE-8A69-5979-9793803372ED}"/>
          </ac:picMkLst>
        </pc:picChg>
        <pc:picChg chg="add del mod">
          <ac:chgData name="Abdo YOUNES" userId="410625cc-30c9-462b-9b51-d67c878f9deb" providerId="ADAL" clId="{3CD0031A-BFCC-4C46-98F4-C146996B7387}" dt="2023-11-09T09:49:08.331" v="491" actId="478"/>
          <ac:picMkLst>
            <pc:docMk/>
            <pc:sldMk cId="1571575077" sldId="263"/>
            <ac:picMk id="35" creationId="{C421F67B-FFDA-5077-370D-94EF435BB10E}"/>
          </ac:picMkLst>
        </pc:picChg>
        <pc:picChg chg="add del mod">
          <ac:chgData name="Abdo YOUNES" userId="410625cc-30c9-462b-9b51-d67c878f9deb" providerId="ADAL" clId="{3CD0031A-BFCC-4C46-98F4-C146996B7387}" dt="2023-11-09T09:49:39.111" v="493" actId="478"/>
          <ac:picMkLst>
            <pc:docMk/>
            <pc:sldMk cId="1571575077" sldId="263"/>
            <ac:picMk id="37" creationId="{0CD14913-C50C-4316-23C0-C735AEE47709}"/>
          </ac:picMkLst>
        </pc:picChg>
        <pc:picChg chg="add mod">
          <ac:chgData name="Abdo YOUNES" userId="410625cc-30c9-462b-9b51-d67c878f9deb" providerId="ADAL" clId="{3CD0031A-BFCC-4C46-98F4-C146996B7387}" dt="2023-11-09T09:50:14.733" v="507" actId="1076"/>
          <ac:picMkLst>
            <pc:docMk/>
            <pc:sldMk cId="1571575077" sldId="263"/>
            <ac:picMk id="38" creationId="{704481CD-0FDF-EF76-8801-9D72F51F1240}"/>
          </ac:picMkLst>
        </pc:picChg>
        <pc:picChg chg="add del mod">
          <ac:chgData name="Abdo YOUNES" userId="410625cc-30c9-462b-9b51-d67c878f9deb" providerId="ADAL" clId="{3CD0031A-BFCC-4C46-98F4-C146996B7387}" dt="2023-11-09T09:49:53.382" v="498" actId="478"/>
          <ac:picMkLst>
            <pc:docMk/>
            <pc:sldMk cId="1571575077" sldId="263"/>
            <ac:picMk id="44" creationId="{0AC3EA31-4EFA-0BF8-F4DF-6731EF757CC3}"/>
          </ac:picMkLst>
        </pc:picChg>
      </pc:sldChg>
      <pc:sldChg chg="addSp delSp modSp del">
        <pc:chgData name="Abdo YOUNES" userId="410625cc-30c9-462b-9b51-d67c878f9deb" providerId="ADAL" clId="{3CD0031A-BFCC-4C46-98F4-C146996B7387}" dt="2023-11-09T09:59:08.552" v="546" actId="47"/>
        <pc:sldMkLst>
          <pc:docMk/>
          <pc:sldMk cId="4041088914" sldId="264"/>
        </pc:sldMkLst>
        <pc:spChg chg="add del mod">
          <ac:chgData name="Abdo YOUNES" userId="410625cc-30c9-462b-9b51-d67c878f9deb" providerId="ADAL" clId="{3CD0031A-BFCC-4C46-98F4-C146996B7387}" dt="2023-11-09T09:21:05.686" v="110"/>
          <ac:spMkLst>
            <pc:docMk/>
            <pc:sldMk cId="4041088914" sldId="264"/>
            <ac:spMk id="7" creationId="{648283C6-45CF-A510-E490-7A3D5C572C17}"/>
          </ac:spMkLst>
        </pc:spChg>
      </pc:sldChg>
      <pc:sldChg chg="addSp delSp modSp mod">
        <pc:chgData name="Abdo YOUNES" userId="410625cc-30c9-462b-9b51-d67c878f9deb" providerId="ADAL" clId="{3CD0031A-BFCC-4C46-98F4-C146996B7387}" dt="2023-11-09T09:56:47.916" v="545" actId="14100"/>
        <pc:sldMkLst>
          <pc:docMk/>
          <pc:sldMk cId="2380994617" sldId="265"/>
        </pc:sldMkLst>
        <pc:spChg chg="mod">
          <ac:chgData name="Abdo YOUNES" userId="410625cc-30c9-462b-9b51-d67c878f9deb" providerId="ADAL" clId="{3CD0031A-BFCC-4C46-98F4-C146996B7387}" dt="2023-11-09T09:55:01.819" v="519" actId="1076"/>
          <ac:spMkLst>
            <pc:docMk/>
            <pc:sldMk cId="2380994617" sldId="265"/>
            <ac:spMk id="2" creationId="{9290F0C3-68B9-5DE5-96F9-5C92852143CE}"/>
          </ac:spMkLst>
        </pc:spChg>
        <pc:spChg chg="mod">
          <ac:chgData name="Abdo YOUNES" userId="410625cc-30c9-462b-9b51-d67c878f9deb" providerId="ADAL" clId="{3CD0031A-BFCC-4C46-98F4-C146996B7387}" dt="2023-11-09T09:56:03.906" v="536" actId="14100"/>
          <ac:spMkLst>
            <pc:docMk/>
            <pc:sldMk cId="2380994617" sldId="265"/>
            <ac:spMk id="3" creationId="{C75BF17B-EF4F-7261-9FC0-34330F38753B}"/>
          </ac:spMkLst>
        </pc:spChg>
        <pc:spChg chg="del">
          <ac:chgData name="Abdo YOUNES" userId="410625cc-30c9-462b-9b51-d67c878f9deb" providerId="ADAL" clId="{3CD0031A-BFCC-4C46-98F4-C146996B7387}" dt="2023-11-09T09:55:33.545" v="524" actId="478"/>
          <ac:spMkLst>
            <pc:docMk/>
            <pc:sldMk cId="2380994617" sldId="265"/>
            <ac:spMk id="4" creationId="{30929477-D085-E511-E935-B7DAA37C698D}"/>
          </ac:spMkLst>
        </pc:spChg>
        <pc:spChg chg="del">
          <ac:chgData name="Abdo YOUNES" userId="410625cc-30c9-462b-9b51-d67c878f9deb" providerId="ADAL" clId="{3CD0031A-BFCC-4C46-98F4-C146996B7387}" dt="2023-11-09T09:55:34.638" v="525" actId="478"/>
          <ac:spMkLst>
            <pc:docMk/>
            <pc:sldMk cId="2380994617" sldId="265"/>
            <ac:spMk id="5" creationId="{8A90C8C2-4207-E342-FF00-AA5C749FF7FB}"/>
          </ac:spMkLst>
        </pc:spChg>
        <pc:spChg chg="add mod">
          <ac:chgData name="Abdo YOUNES" userId="410625cc-30c9-462b-9b51-d67c878f9deb" providerId="ADAL" clId="{3CD0031A-BFCC-4C46-98F4-C146996B7387}" dt="2023-11-09T09:21:02.694" v="108" actId="1036"/>
          <ac:spMkLst>
            <pc:docMk/>
            <pc:sldMk cId="2380994617" sldId="265"/>
            <ac:spMk id="7" creationId="{81CAF61C-7023-E332-B697-2A3C3315D23D}"/>
          </ac:spMkLst>
        </pc:spChg>
        <pc:spChg chg="add mod">
          <ac:chgData name="Abdo YOUNES" userId="410625cc-30c9-462b-9b51-d67c878f9deb" providerId="ADAL" clId="{3CD0031A-BFCC-4C46-98F4-C146996B7387}" dt="2023-11-09T09:56:41.976" v="543" actId="1076"/>
          <ac:spMkLst>
            <pc:docMk/>
            <pc:sldMk cId="2380994617" sldId="265"/>
            <ac:spMk id="8" creationId="{C3A4E80C-B982-B56C-ECDF-75D94D30CD50}"/>
          </ac:spMkLst>
        </pc:spChg>
        <pc:spChg chg="add mod">
          <ac:chgData name="Abdo YOUNES" userId="410625cc-30c9-462b-9b51-d67c878f9deb" providerId="ADAL" clId="{3CD0031A-BFCC-4C46-98F4-C146996B7387}" dt="2023-11-09T09:56:41.976" v="543" actId="1076"/>
          <ac:spMkLst>
            <pc:docMk/>
            <pc:sldMk cId="2380994617" sldId="265"/>
            <ac:spMk id="9" creationId="{AB99649F-005F-76CE-457F-DF0CB93011D3}"/>
          </ac:spMkLst>
        </pc:spChg>
        <pc:spChg chg="add mod">
          <ac:chgData name="Abdo YOUNES" userId="410625cc-30c9-462b-9b51-d67c878f9deb" providerId="ADAL" clId="{3CD0031A-BFCC-4C46-98F4-C146996B7387}" dt="2023-11-09T09:56:41.976" v="543" actId="1076"/>
          <ac:spMkLst>
            <pc:docMk/>
            <pc:sldMk cId="2380994617" sldId="265"/>
            <ac:spMk id="10" creationId="{FEF4979E-7BC7-B370-4A59-175947F14436}"/>
          </ac:spMkLst>
        </pc:spChg>
        <pc:spChg chg="add mod">
          <ac:chgData name="Abdo YOUNES" userId="410625cc-30c9-462b-9b51-d67c878f9deb" providerId="ADAL" clId="{3CD0031A-BFCC-4C46-98F4-C146996B7387}" dt="2023-11-09T09:56:47.916" v="545" actId="14100"/>
          <ac:spMkLst>
            <pc:docMk/>
            <pc:sldMk cId="2380994617" sldId="265"/>
            <ac:spMk id="11" creationId="{921FD290-B0C1-1B14-C6CD-6F13F1B2678D}"/>
          </ac:spMkLst>
        </pc:spChg>
        <pc:spChg chg="add mod">
          <ac:chgData name="Abdo YOUNES" userId="410625cc-30c9-462b-9b51-d67c878f9deb" providerId="ADAL" clId="{3CD0031A-BFCC-4C46-98F4-C146996B7387}" dt="2023-11-09T09:56:06.969" v="537" actId="108"/>
          <ac:spMkLst>
            <pc:docMk/>
            <pc:sldMk cId="2380994617" sldId="265"/>
            <ac:spMk id="12" creationId="{A97DD60E-3D06-08EC-6758-8C751D64E1D2}"/>
          </ac:spMkLst>
        </pc:spChg>
        <pc:spChg chg="add mod">
          <ac:chgData name="Abdo YOUNES" userId="410625cc-30c9-462b-9b51-d67c878f9deb" providerId="ADAL" clId="{3CD0031A-BFCC-4C46-98F4-C146996B7387}" dt="2023-11-09T09:56:14.394" v="539" actId="1076"/>
          <ac:spMkLst>
            <pc:docMk/>
            <pc:sldMk cId="2380994617" sldId="265"/>
            <ac:spMk id="13" creationId="{5E92A7DB-FC10-B3FC-29CD-7A78991DF9EC}"/>
          </ac:spMkLst>
        </pc:spChg>
      </pc:sldChg>
      <pc:sldChg chg="addSp modSp add mod">
        <pc:chgData name="Abdo YOUNES" userId="410625cc-30c9-462b-9b51-d67c878f9deb" providerId="ADAL" clId="{3CD0031A-BFCC-4C46-98F4-C146996B7387}" dt="2023-11-09T09:31:41.611" v="271" actId="1076"/>
        <pc:sldMkLst>
          <pc:docMk/>
          <pc:sldMk cId="1615902378" sldId="266"/>
        </pc:sldMkLst>
        <pc:spChg chg="add mod">
          <ac:chgData name="Abdo YOUNES" userId="410625cc-30c9-462b-9b51-d67c878f9deb" providerId="ADAL" clId="{3CD0031A-BFCC-4C46-98F4-C146996B7387}" dt="2023-11-09T09:31:38.758" v="269" actId="14100"/>
          <ac:spMkLst>
            <pc:docMk/>
            <pc:sldMk cId="1615902378" sldId="266"/>
            <ac:spMk id="2" creationId="{2FDF7547-C4F0-E578-1A4D-FE6E5D03036F}"/>
          </ac:spMkLst>
        </pc:spChg>
        <pc:spChg chg="add mod">
          <ac:chgData name="Abdo YOUNES" userId="410625cc-30c9-462b-9b51-d67c878f9deb" providerId="ADAL" clId="{3CD0031A-BFCC-4C46-98F4-C146996B7387}" dt="2023-11-09T09:31:41.611" v="271" actId="1076"/>
          <ac:spMkLst>
            <pc:docMk/>
            <pc:sldMk cId="1615902378" sldId="266"/>
            <ac:spMk id="7" creationId="{68F171E0-777F-D449-4D06-B24F58467372}"/>
          </ac:spMkLst>
        </pc:spChg>
      </pc:sldChg>
      <pc:sldChg chg="add del">
        <pc:chgData name="Abdo YOUNES" userId="410625cc-30c9-462b-9b51-d67c878f9deb" providerId="ADAL" clId="{3CD0031A-BFCC-4C46-98F4-C146996B7387}" dt="2023-11-09T09:31:25.108" v="265"/>
        <pc:sldMkLst>
          <pc:docMk/>
          <pc:sldMk cId="3541682782" sldId="266"/>
        </pc:sldMkLst>
      </pc:sldChg>
      <pc:sldChg chg="addSp delSp modSp add mod">
        <pc:chgData name="Abdo YOUNES" userId="410625cc-30c9-462b-9b51-d67c878f9deb" providerId="ADAL" clId="{3CD0031A-BFCC-4C46-98F4-C146996B7387}" dt="2023-11-09T10:08:24.737" v="658"/>
        <pc:sldMkLst>
          <pc:docMk/>
          <pc:sldMk cId="2376373146" sldId="267"/>
        </pc:sldMkLst>
        <pc:spChg chg="mod">
          <ac:chgData name="Abdo YOUNES" userId="410625cc-30c9-462b-9b51-d67c878f9deb" providerId="ADAL" clId="{3CD0031A-BFCC-4C46-98F4-C146996B7387}" dt="2023-11-09T10:03:49.925" v="613" actId="255"/>
          <ac:spMkLst>
            <pc:docMk/>
            <pc:sldMk cId="2376373146" sldId="267"/>
            <ac:spMk id="2" creationId="{9290F0C3-68B9-5DE5-96F9-5C92852143CE}"/>
          </ac:spMkLst>
        </pc:spChg>
        <pc:spChg chg="add mod">
          <ac:chgData name="Abdo YOUNES" userId="410625cc-30c9-462b-9b51-d67c878f9deb" providerId="ADAL" clId="{3CD0031A-BFCC-4C46-98F4-C146996B7387}" dt="2023-11-09T10:03:43.632" v="612" actId="255"/>
          <ac:spMkLst>
            <pc:docMk/>
            <pc:sldMk cId="2376373146" sldId="267"/>
            <ac:spMk id="4" creationId="{92268679-4480-DCDF-0CAA-E333CECAFE79}"/>
          </ac:spMkLst>
        </pc:spChg>
        <pc:spChg chg="add del mod">
          <ac:chgData name="Abdo YOUNES" userId="410625cc-30c9-462b-9b51-d67c878f9deb" providerId="ADAL" clId="{3CD0031A-BFCC-4C46-98F4-C146996B7387}" dt="2023-11-09T10:03:57.292" v="615" actId="1076"/>
          <ac:spMkLst>
            <pc:docMk/>
            <pc:sldMk cId="2376373146" sldId="267"/>
            <ac:spMk id="5" creationId="{594E7262-CBFB-2029-8FDA-C05A35B47161}"/>
          </ac:spMkLst>
        </pc:spChg>
        <pc:spChg chg="del">
          <ac:chgData name="Abdo YOUNES" userId="410625cc-30c9-462b-9b51-d67c878f9deb" providerId="ADAL" clId="{3CD0031A-BFCC-4C46-98F4-C146996B7387}" dt="2023-11-09T10:00:11.779" v="553" actId="478"/>
          <ac:spMkLst>
            <pc:docMk/>
            <pc:sldMk cId="2376373146" sldId="267"/>
            <ac:spMk id="8" creationId="{C3A4E80C-B982-B56C-ECDF-75D94D30CD50}"/>
          </ac:spMkLst>
        </pc:spChg>
        <pc:spChg chg="del">
          <ac:chgData name="Abdo YOUNES" userId="410625cc-30c9-462b-9b51-d67c878f9deb" providerId="ADAL" clId="{3CD0031A-BFCC-4C46-98F4-C146996B7387}" dt="2023-11-09T10:00:10.209" v="552" actId="478"/>
          <ac:spMkLst>
            <pc:docMk/>
            <pc:sldMk cId="2376373146" sldId="267"/>
            <ac:spMk id="9" creationId="{AB99649F-005F-76CE-457F-DF0CB93011D3}"/>
          </ac:spMkLst>
        </pc:spChg>
        <pc:spChg chg="del">
          <ac:chgData name="Abdo YOUNES" userId="410625cc-30c9-462b-9b51-d67c878f9deb" providerId="ADAL" clId="{3CD0031A-BFCC-4C46-98F4-C146996B7387}" dt="2023-11-09T10:00:14.351" v="555" actId="478"/>
          <ac:spMkLst>
            <pc:docMk/>
            <pc:sldMk cId="2376373146" sldId="267"/>
            <ac:spMk id="10" creationId="{FEF4979E-7BC7-B370-4A59-175947F14436}"/>
          </ac:spMkLst>
        </pc:spChg>
        <pc:spChg chg="del">
          <ac:chgData name="Abdo YOUNES" userId="410625cc-30c9-462b-9b51-d67c878f9deb" providerId="ADAL" clId="{3CD0031A-BFCC-4C46-98F4-C146996B7387}" dt="2023-11-09T10:00:12.677" v="554" actId="478"/>
          <ac:spMkLst>
            <pc:docMk/>
            <pc:sldMk cId="2376373146" sldId="267"/>
            <ac:spMk id="11" creationId="{921FD290-B0C1-1B14-C6CD-6F13F1B2678D}"/>
          </ac:spMkLst>
        </pc:spChg>
        <pc:spChg chg="del">
          <ac:chgData name="Abdo YOUNES" userId="410625cc-30c9-462b-9b51-d67c878f9deb" providerId="ADAL" clId="{3CD0031A-BFCC-4C46-98F4-C146996B7387}" dt="2023-11-09T09:59:29.334" v="549" actId="478"/>
          <ac:spMkLst>
            <pc:docMk/>
            <pc:sldMk cId="2376373146" sldId="267"/>
            <ac:spMk id="12" creationId="{A97DD60E-3D06-08EC-6758-8C751D64E1D2}"/>
          </ac:spMkLst>
        </pc:spChg>
        <pc:spChg chg="del">
          <ac:chgData name="Abdo YOUNES" userId="410625cc-30c9-462b-9b51-d67c878f9deb" providerId="ADAL" clId="{3CD0031A-BFCC-4C46-98F4-C146996B7387}" dt="2023-11-09T09:59:30.300" v="550" actId="478"/>
          <ac:spMkLst>
            <pc:docMk/>
            <pc:sldMk cId="2376373146" sldId="267"/>
            <ac:spMk id="13" creationId="{5E92A7DB-FC10-B3FC-29CD-7A78991DF9EC}"/>
          </ac:spMkLst>
        </pc:spChg>
        <pc:spChg chg="add mod">
          <ac:chgData name="Abdo YOUNES" userId="410625cc-30c9-462b-9b51-d67c878f9deb" providerId="ADAL" clId="{3CD0031A-BFCC-4C46-98F4-C146996B7387}" dt="2023-11-09T09:59:31.321" v="551"/>
          <ac:spMkLst>
            <pc:docMk/>
            <pc:sldMk cId="2376373146" sldId="267"/>
            <ac:spMk id="15" creationId="{44D9BA78-4818-BE96-0C79-BC2F6247B292}"/>
          </ac:spMkLst>
        </pc:spChg>
        <pc:spChg chg="add mod">
          <ac:chgData name="Abdo YOUNES" userId="410625cc-30c9-462b-9b51-d67c878f9deb" providerId="ADAL" clId="{3CD0031A-BFCC-4C46-98F4-C146996B7387}" dt="2023-11-09T09:59:31.321" v="551"/>
          <ac:spMkLst>
            <pc:docMk/>
            <pc:sldMk cId="2376373146" sldId="267"/>
            <ac:spMk id="16" creationId="{1763452B-4844-E153-770A-B9CD12FD445B}"/>
          </ac:spMkLst>
        </pc:spChg>
        <pc:spChg chg="add del mod">
          <ac:chgData name="Abdo YOUNES" userId="410625cc-30c9-462b-9b51-d67c878f9deb" providerId="ADAL" clId="{3CD0031A-BFCC-4C46-98F4-C146996B7387}" dt="2023-11-09T10:03:15.071" v="603" actId="478"/>
          <ac:spMkLst>
            <pc:docMk/>
            <pc:sldMk cId="2376373146" sldId="267"/>
            <ac:spMk id="17" creationId="{4A9A3FFF-2686-6058-DBFA-2A54B740C5F0}"/>
          </ac:spMkLst>
        </pc:spChg>
        <pc:spChg chg="add del mod">
          <ac:chgData name="Abdo YOUNES" userId="410625cc-30c9-462b-9b51-d67c878f9deb" providerId="ADAL" clId="{3CD0031A-BFCC-4C46-98F4-C146996B7387}" dt="2023-11-09T10:03:21.826" v="607" actId="478"/>
          <ac:spMkLst>
            <pc:docMk/>
            <pc:sldMk cId="2376373146" sldId="267"/>
            <ac:spMk id="18" creationId="{5BE119FE-91F4-545C-D4CA-2F4981929B3C}"/>
          </ac:spMkLst>
        </pc:spChg>
        <pc:graphicFrameChg chg="add mod">
          <ac:chgData name="Abdo YOUNES" userId="410625cc-30c9-462b-9b51-d67c878f9deb" providerId="ADAL" clId="{3CD0031A-BFCC-4C46-98F4-C146996B7387}" dt="2023-11-09T10:06:42.508" v="633" actId="207"/>
          <ac:graphicFrameMkLst>
            <pc:docMk/>
            <pc:sldMk cId="2376373146" sldId="267"/>
            <ac:graphicFrameMk id="21" creationId="{D75A1351-42E9-3336-3648-EA2503CF00E0}"/>
          </ac:graphicFrameMkLst>
        </pc:graphicFrameChg>
        <pc:graphicFrameChg chg="add del mod">
          <ac:chgData name="Abdo YOUNES" userId="410625cc-30c9-462b-9b51-d67c878f9deb" providerId="ADAL" clId="{3CD0031A-BFCC-4C46-98F4-C146996B7387}" dt="2023-11-09T10:08:06.707" v="651" actId="478"/>
          <ac:graphicFrameMkLst>
            <pc:docMk/>
            <pc:sldMk cId="2376373146" sldId="267"/>
            <ac:graphicFrameMk id="22" creationId="{BEA0078F-8948-31B3-184A-DEF5C51C1577}"/>
          </ac:graphicFrameMkLst>
        </pc:graphicFrameChg>
        <pc:graphicFrameChg chg="add del mod">
          <ac:chgData name="Abdo YOUNES" userId="410625cc-30c9-462b-9b51-d67c878f9deb" providerId="ADAL" clId="{3CD0031A-BFCC-4C46-98F4-C146996B7387}" dt="2023-11-09T10:07:28.734" v="642" actId="478"/>
          <ac:graphicFrameMkLst>
            <pc:docMk/>
            <pc:sldMk cId="2376373146" sldId="267"/>
            <ac:graphicFrameMk id="23" creationId="{6767C74A-EBD7-FF7D-2F84-F8E844DB92C4}"/>
          </ac:graphicFrameMkLst>
        </pc:graphicFrameChg>
        <pc:graphicFrameChg chg="add del mod">
          <ac:chgData name="Abdo YOUNES" userId="410625cc-30c9-462b-9b51-d67c878f9deb" providerId="ADAL" clId="{3CD0031A-BFCC-4C46-98F4-C146996B7387}" dt="2023-11-09T10:07:02.864" v="637" actId="478"/>
          <ac:graphicFrameMkLst>
            <pc:docMk/>
            <pc:sldMk cId="2376373146" sldId="267"/>
            <ac:graphicFrameMk id="24" creationId="{73A60EC5-D4D0-5DAE-379D-F5C5A6692E88}"/>
          </ac:graphicFrameMkLst>
        </pc:graphicFrameChg>
        <pc:graphicFrameChg chg="add del mod">
          <ac:chgData name="Abdo YOUNES" userId="410625cc-30c9-462b-9b51-d67c878f9deb" providerId="ADAL" clId="{3CD0031A-BFCC-4C46-98F4-C146996B7387}" dt="2023-11-09T10:07:01.383" v="636"/>
          <ac:graphicFrameMkLst>
            <pc:docMk/>
            <pc:sldMk cId="2376373146" sldId="267"/>
            <ac:graphicFrameMk id="27" creationId="{B8D9C8E6-0CE4-8E35-3EF1-985E0DA60971}"/>
          </ac:graphicFrameMkLst>
        </pc:graphicFrameChg>
        <pc:graphicFrameChg chg="add mod">
          <ac:chgData name="Abdo YOUNES" userId="410625cc-30c9-462b-9b51-d67c878f9deb" providerId="ADAL" clId="{3CD0031A-BFCC-4C46-98F4-C146996B7387}" dt="2023-11-09T10:07:14.229" v="641"/>
          <ac:graphicFrameMkLst>
            <pc:docMk/>
            <pc:sldMk cId="2376373146" sldId="267"/>
            <ac:graphicFrameMk id="28" creationId="{DC168BB9-6C8D-6448-94AD-5C3A7F1587C1}"/>
          </ac:graphicFrameMkLst>
        </pc:graphicFrameChg>
        <pc:graphicFrameChg chg="add mod">
          <ac:chgData name="Abdo YOUNES" userId="410625cc-30c9-462b-9b51-d67c878f9deb" providerId="ADAL" clId="{3CD0031A-BFCC-4C46-98F4-C146996B7387}" dt="2023-11-09T10:08:00.657" v="650"/>
          <ac:graphicFrameMkLst>
            <pc:docMk/>
            <pc:sldMk cId="2376373146" sldId="267"/>
            <ac:graphicFrameMk id="29" creationId="{A13DEC87-4A1B-65F1-71A1-62FBA8CAEA71}"/>
          </ac:graphicFrameMkLst>
        </pc:graphicFrameChg>
        <pc:graphicFrameChg chg="add mod">
          <ac:chgData name="Abdo YOUNES" userId="410625cc-30c9-462b-9b51-d67c878f9deb" providerId="ADAL" clId="{3CD0031A-BFCC-4C46-98F4-C146996B7387}" dt="2023-11-09T10:08:24.737" v="658"/>
          <ac:graphicFrameMkLst>
            <pc:docMk/>
            <pc:sldMk cId="2376373146" sldId="267"/>
            <ac:graphicFrameMk id="30" creationId="{EDEDFB38-4778-D84A-1499-B199EA145364}"/>
          </ac:graphicFrameMkLst>
        </pc:graphicFrameChg>
        <pc:picChg chg="add mod">
          <ac:chgData name="Abdo YOUNES" userId="410625cc-30c9-462b-9b51-d67c878f9deb" providerId="ADAL" clId="{3CD0031A-BFCC-4C46-98F4-C146996B7387}" dt="2023-11-09T10:03:07.527" v="601" actId="207"/>
          <ac:picMkLst>
            <pc:docMk/>
            <pc:sldMk cId="2376373146" sldId="267"/>
            <ac:picMk id="25" creationId="{17CC8634-6D93-4DB6-76C0-761D1ED72B0A}"/>
          </ac:picMkLst>
        </pc:picChg>
        <pc:picChg chg="add mod">
          <ac:chgData name="Abdo YOUNES" userId="410625cc-30c9-462b-9b51-d67c878f9deb" providerId="ADAL" clId="{3CD0031A-BFCC-4C46-98F4-C146996B7387}" dt="2023-11-09T10:04:01.139" v="616" actId="1076"/>
          <ac:picMkLst>
            <pc:docMk/>
            <pc:sldMk cId="2376373146" sldId="267"/>
            <ac:picMk id="26" creationId="{52D2F64B-06DF-A57D-A452-8429677C1DA5}"/>
          </ac:picMkLst>
        </pc:picChg>
        <pc:cxnChg chg="add mod">
          <ac:chgData name="Abdo YOUNES" userId="410625cc-30c9-462b-9b51-d67c878f9deb" providerId="ADAL" clId="{3CD0031A-BFCC-4C46-98F4-C146996B7387}" dt="2023-11-09T09:59:31.321" v="551"/>
          <ac:cxnSpMkLst>
            <pc:docMk/>
            <pc:sldMk cId="2376373146" sldId="267"/>
            <ac:cxnSpMk id="14" creationId="{9819EB0F-3ED9-F9DA-29CB-8D57A8C8676F}"/>
          </ac:cxnSpMkLst>
        </pc:cxnChg>
        <pc:cxnChg chg="add mod">
          <ac:chgData name="Abdo YOUNES" userId="410625cc-30c9-462b-9b51-d67c878f9deb" providerId="ADAL" clId="{3CD0031A-BFCC-4C46-98F4-C146996B7387}" dt="2023-11-09T09:59:31.321" v="551"/>
          <ac:cxnSpMkLst>
            <pc:docMk/>
            <pc:sldMk cId="2376373146" sldId="267"/>
            <ac:cxnSpMk id="19" creationId="{4472A792-5D26-757B-0861-FA0A51B809B9}"/>
          </ac:cxnSpMkLst>
        </pc:cxnChg>
        <pc:cxnChg chg="add mod">
          <ac:chgData name="Abdo YOUNES" userId="410625cc-30c9-462b-9b51-d67c878f9deb" providerId="ADAL" clId="{3CD0031A-BFCC-4C46-98F4-C146996B7387}" dt="2023-11-09T09:59:31.321" v="551"/>
          <ac:cxnSpMkLst>
            <pc:docMk/>
            <pc:sldMk cId="2376373146" sldId="267"/>
            <ac:cxnSpMk id="20" creationId="{ADFC4E27-665F-C9FB-7E66-46F850750DEC}"/>
          </ac:cxnSpMkLst>
        </pc:cxnChg>
      </pc:sldChg>
      <pc:sldChg chg="add">
        <pc:chgData name="Abdo YOUNES" userId="410625cc-30c9-462b-9b51-d67c878f9deb" providerId="ADAL" clId="{3CD0031A-BFCC-4C46-98F4-C146996B7387}" dt="2023-11-09T10:09:45.066" v="659"/>
        <pc:sldMkLst>
          <pc:docMk/>
          <pc:sldMk cId="3561166778" sldId="300"/>
        </pc:sldMkLst>
      </pc:sldChg>
      <pc:sldChg chg="add del">
        <pc:chgData name="Abdo YOUNES" userId="410625cc-30c9-462b-9b51-d67c878f9deb" providerId="ADAL" clId="{3CD0031A-BFCC-4C46-98F4-C146996B7387}" dt="2023-11-09T10:10:01.288" v="661" actId="47"/>
        <pc:sldMkLst>
          <pc:docMk/>
          <pc:sldMk cId="3116986718" sldId="301"/>
        </pc:sldMkLst>
      </pc:sldChg>
      <pc:sldChg chg="add">
        <pc:chgData name="Abdo YOUNES" userId="410625cc-30c9-462b-9b51-d67c878f9deb" providerId="ADAL" clId="{3CD0031A-BFCC-4C46-98F4-C146996B7387}" dt="2023-11-09T10:10:32.172" v="665"/>
        <pc:sldMkLst>
          <pc:docMk/>
          <pc:sldMk cId="2675272974" sldId="2134805925"/>
        </pc:sldMkLst>
      </pc:sldChg>
      <pc:sldChg chg="add">
        <pc:chgData name="Abdo YOUNES" userId="410625cc-30c9-462b-9b51-d67c878f9deb" providerId="ADAL" clId="{3CD0031A-BFCC-4C46-98F4-C146996B7387}" dt="2023-11-09T10:10:32.172" v="665"/>
        <pc:sldMkLst>
          <pc:docMk/>
          <pc:sldMk cId="621596271" sldId="2147377117"/>
        </pc:sldMkLst>
      </pc:sldChg>
      <pc:sldChg chg="add">
        <pc:chgData name="Abdo YOUNES" userId="410625cc-30c9-462b-9b51-d67c878f9deb" providerId="ADAL" clId="{3CD0031A-BFCC-4C46-98F4-C146996B7387}" dt="2023-11-09T10:10:32.172" v="665"/>
        <pc:sldMkLst>
          <pc:docMk/>
          <pc:sldMk cId="2520913310" sldId="2147377118"/>
        </pc:sldMkLst>
      </pc:sldChg>
      <pc:sldChg chg="add">
        <pc:chgData name="Abdo YOUNES" userId="410625cc-30c9-462b-9b51-d67c878f9deb" providerId="ADAL" clId="{3CD0031A-BFCC-4C46-98F4-C146996B7387}" dt="2023-11-09T10:10:32.172" v="665"/>
        <pc:sldMkLst>
          <pc:docMk/>
          <pc:sldMk cId="3216623788" sldId="2147377410"/>
        </pc:sldMkLst>
      </pc:sldChg>
      <pc:sldChg chg="add">
        <pc:chgData name="Abdo YOUNES" userId="410625cc-30c9-462b-9b51-d67c878f9deb" providerId="ADAL" clId="{3CD0031A-BFCC-4C46-98F4-C146996B7387}" dt="2023-11-09T10:10:32.172" v="665"/>
        <pc:sldMkLst>
          <pc:docMk/>
          <pc:sldMk cId="1093436317" sldId="2147377424"/>
        </pc:sldMkLst>
      </pc:sldChg>
      <pc:sldChg chg="add">
        <pc:chgData name="Abdo YOUNES" userId="410625cc-30c9-462b-9b51-d67c878f9deb" providerId="ADAL" clId="{3CD0031A-BFCC-4C46-98F4-C146996B7387}" dt="2023-11-09T10:10:32.172" v="665"/>
        <pc:sldMkLst>
          <pc:docMk/>
          <pc:sldMk cId="2933304876" sldId="2147377426"/>
        </pc:sldMkLst>
      </pc:sldChg>
      <pc:sldChg chg="add">
        <pc:chgData name="Abdo YOUNES" userId="410625cc-30c9-462b-9b51-d67c878f9deb" providerId="ADAL" clId="{3CD0031A-BFCC-4C46-98F4-C146996B7387}" dt="2023-11-09T10:10:11.599" v="662"/>
        <pc:sldMkLst>
          <pc:docMk/>
          <pc:sldMk cId="1125379258" sldId="2147377427"/>
        </pc:sldMkLst>
      </pc:sldChg>
      <pc:sldChg chg="add">
        <pc:chgData name="Abdo YOUNES" userId="410625cc-30c9-462b-9b51-d67c878f9deb" providerId="ADAL" clId="{3CD0031A-BFCC-4C46-98F4-C146996B7387}" dt="2023-11-09T10:10:32.172" v="665"/>
        <pc:sldMkLst>
          <pc:docMk/>
          <pc:sldMk cId="2510240396" sldId="2147377432"/>
        </pc:sldMkLst>
      </pc:sldChg>
      <pc:sldChg chg="modSp add mod">
        <pc:chgData name="Abdo YOUNES" userId="410625cc-30c9-462b-9b51-d67c878f9deb" providerId="ADAL" clId="{3CD0031A-BFCC-4C46-98F4-C146996B7387}" dt="2023-11-09T10:10:11.645" v="663" actId="27636"/>
        <pc:sldMkLst>
          <pc:docMk/>
          <pc:sldMk cId="3200625503" sldId="2147377437"/>
        </pc:sldMkLst>
        <pc:spChg chg="mod">
          <ac:chgData name="Abdo YOUNES" userId="410625cc-30c9-462b-9b51-d67c878f9deb" providerId="ADAL" clId="{3CD0031A-BFCC-4C46-98F4-C146996B7387}" dt="2023-11-09T10:10:11.599" v="662"/>
          <ac:spMkLst>
            <pc:docMk/>
            <pc:sldMk cId="3200625503" sldId="2147377437"/>
            <ac:spMk id="2" creationId="{A7816FAA-F229-0DA8-C80B-72F5B4707F5F}"/>
          </ac:spMkLst>
        </pc:spChg>
        <pc:spChg chg="mod">
          <ac:chgData name="Abdo YOUNES" userId="410625cc-30c9-462b-9b51-d67c878f9deb" providerId="ADAL" clId="{3CD0031A-BFCC-4C46-98F4-C146996B7387}" dt="2023-11-09T10:10:11.645" v="663" actId="27636"/>
          <ac:spMkLst>
            <pc:docMk/>
            <pc:sldMk cId="3200625503" sldId="2147377437"/>
            <ac:spMk id="3" creationId="{A88487D0-8D22-B0CE-B509-CAC9FF25D3DA}"/>
          </ac:spMkLst>
        </pc:spChg>
      </pc:sldChg>
      <pc:sldChg chg="modSp add mod">
        <pc:chgData name="Abdo YOUNES" userId="410625cc-30c9-462b-9b51-d67c878f9deb" providerId="ADAL" clId="{3CD0031A-BFCC-4C46-98F4-C146996B7387}" dt="2023-11-09T10:10:11.657" v="664" actId="27636"/>
        <pc:sldMkLst>
          <pc:docMk/>
          <pc:sldMk cId="3287587123" sldId="2147377438"/>
        </pc:sldMkLst>
        <pc:spChg chg="mod">
          <ac:chgData name="Abdo YOUNES" userId="410625cc-30c9-462b-9b51-d67c878f9deb" providerId="ADAL" clId="{3CD0031A-BFCC-4C46-98F4-C146996B7387}" dt="2023-11-09T10:10:11.599" v="662"/>
          <ac:spMkLst>
            <pc:docMk/>
            <pc:sldMk cId="3287587123" sldId="2147377438"/>
            <ac:spMk id="2" creationId="{A7816FAA-F229-0DA8-C80B-72F5B4707F5F}"/>
          </ac:spMkLst>
        </pc:spChg>
        <pc:spChg chg="mod">
          <ac:chgData name="Abdo YOUNES" userId="410625cc-30c9-462b-9b51-d67c878f9deb" providerId="ADAL" clId="{3CD0031A-BFCC-4C46-98F4-C146996B7387}" dt="2023-11-09T10:10:11.657" v="664" actId="27636"/>
          <ac:spMkLst>
            <pc:docMk/>
            <pc:sldMk cId="3287587123" sldId="2147377438"/>
            <ac:spMk id="3" creationId="{A88487D0-8D22-B0CE-B509-CAC9FF25D3DA}"/>
          </ac:spMkLst>
        </pc:spChg>
      </pc:sldChg>
      <pc:sldChg chg="add">
        <pc:chgData name="Abdo YOUNES" userId="410625cc-30c9-462b-9b51-d67c878f9deb" providerId="ADAL" clId="{3CD0031A-BFCC-4C46-98F4-C146996B7387}" dt="2023-11-09T10:10:32.172" v="665"/>
        <pc:sldMkLst>
          <pc:docMk/>
          <pc:sldMk cId="2260008973" sldId="2147377441"/>
        </pc:sldMkLst>
      </pc:sldChg>
      <pc:sldChg chg="add">
        <pc:chgData name="Abdo YOUNES" userId="410625cc-30c9-462b-9b51-d67c878f9deb" providerId="ADAL" clId="{3CD0031A-BFCC-4C46-98F4-C146996B7387}" dt="2023-11-09T10:10:32.172" v="665"/>
        <pc:sldMkLst>
          <pc:docMk/>
          <pc:sldMk cId="1548333667" sldId="2147377442"/>
        </pc:sldMkLst>
      </pc:sldChg>
      <pc:sldChg chg="add">
        <pc:chgData name="Abdo YOUNES" userId="410625cc-30c9-462b-9b51-d67c878f9deb" providerId="ADAL" clId="{3CD0031A-BFCC-4C46-98F4-C146996B7387}" dt="2023-11-09T10:10:32.172" v="665"/>
        <pc:sldMkLst>
          <pc:docMk/>
          <pc:sldMk cId="1611988416" sldId="2147377445"/>
        </pc:sldMkLst>
      </pc:sldChg>
      <pc:sldChg chg="add">
        <pc:chgData name="Abdo YOUNES" userId="410625cc-30c9-462b-9b51-d67c878f9deb" providerId="ADAL" clId="{3CD0031A-BFCC-4C46-98F4-C146996B7387}" dt="2023-11-09T10:10:32.172" v="665"/>
        <pc:sldMkLst>
          <pc:docMk/>
          <pc:sldMk cId="789982425" sldId="2147377446"/>
        </pc:sldMkLst>
      </pc:sldChg>
    </pc:docChg>
  </pc:docChgLst>
  <pc:docChgLst>
    <pc:chgData name="Pamela NGO PONDI DELNISE" userId="0530e0ff-088f-43ee-9cb2-0e36e851107d" providerId="ADAL" clId="{82C8312D-AE14-4D9E-B6E1-79451B461957}"/>
    <pc:docChg chg="undo custSel addSld delSld modSld">
      <pc:chgData name="Pamela NGO PONDI DELNISE" userId="0530e0ff-088f-43ee-9cb2-0e36e851107d" providerId="ADAL" clId="{82C8312D-AE14-4D9E-B6E1-79451B461957}" dt="2023-11-07T18:16:53.194" v="12"/>
      <pc:docMkLst>
        <pc:docMk/>
      </pc:docMkLst>
      <pc:sldChg chg="add del">
        <pc:chgData name="Pamela NGO PONDI DELNISE" userId="0530e0ff-088f-43ee-9cb2-0e36e851107d" providerId="ADAL" clId="{82C8312D-AE14-4D9E-B6E1-79451B461957}" dt="2023-11-07T18:15:38.258" v="1" actId="2890"/>
        <pc:sldMkLst>
          <pc:docMk/>
          <pc:sldMk cId="1739693212" sldId="265"/>
        </pc:sldMkLst>
      </pc:sldChg>
      <pc:sldChg chg="addSp delSp modSp new mod">
        <pc:chgData name="Pamela NGO PONDI DELNISE" userId="0530e0ff-088f-43ee-9cb2-0e36e851107d" providerId="ADAL" clId="{82C8312D-AE14-4D9E-B6E1-79451B461957}" dt="2023-11-07T18:16:53.194" v="12"/>
        <pc:sldMkLst>
          <pc:docMk/>
          <pc:sldMk cId="2380994617" sldId="265"/>
        </pc:sldMkLst>
        <pc:spChg chg="add del">
          <ac:chgData name="Pamela NGO PONDI DELNISE" userId="0530e0ff-088f-43ee-9cb2-0e36e851107d" providerId="ADAL" clId="{82C8312D-AE14-4D9E-B6E1-79451B461957}" dt="2023-11-07T18:16:51.863" v="9" actId="478"/>
          <ac:spMkLst>
            <pc:docMk/>
            <pc:sldMk cId="2380994617" sldId="265"/>
            <ac:spMk id="2" creationId="{9290F0C3-68B9-5DE5-96F9-5C92852143CE}"/>
          </ac:spMkLst>
        </pc:spChg>
        <pc:spChg chg="add del">
          <ac:chgData name="Pamela NGO PONDI DELNISE" userId="0530e0ff-088f-43ee-9cb2-0e36e851107d" providerId="ADAL" clId="{82C8312D-AE14-4D9E-B6E1-79451B461957}" dt="2023-11-07T18:16:51.426" v="8" actId="478"/>
          <ac:spMkLst>
            <pc:docMk/>
            <pc:sldMk cId="2380994617" sldId="265"/>
            <ac:spMk id="5" creationId="{8A90C8C2-4207-E342-FF00-AA5C749FF7FB}"/>
          </ac:spMkLst>
        </pc:spChg>
        <pc:grpChg chg="add del mod">
          <ac:chgData name="Pamela NGO PONDI DELNISE" userId="0530e0ff-088f-43ee-9cb2-0e36e851107d" providerId="ADAL" clId="{82C8312D-AE14-4D9E-B6E1-79451B461957}" dt="2023-11-07T18:16:53.194" v="12"/>
          <ac:grpSpMkLst>
            <pc:docMk/>
            <pc:sldMk cId="2380994617" sldId="265"/>
            <ac:grpSpMk id="7" creationId="{7525FF06-B141-8576-E21A-87923CA71F98}"/>
          </ac:grpSpMkLst>
        </pc:grpChg>
        <pc:picChg chg="mod">
          <ac:chgData name="Pamela NGO PONDI DELNISE" userId="0530e0ff-088f-43ee-9cb2-0e36e851107d" providerId="ADAL" clId="{82C8312D-AE14-4D9E-B6E1-79451B461957}" dt="2023-11-07T18:16:20.943" v="3"/>
          <ac:picMkLst>
            <pc:docMk/>
            <pc:sldMk cId="2380994617" sldId="265"/>
            <ac:picMk id="8" creationId="{C5FB1427-7FFC-2C10-2135-DA38F79BF37E}"/>
          </ac:picMkLst>
        </pc:picChg>
        <pc:picChg chg="mod">
          <ac:chgData name="Pamela NGO PONDI DELNISE" userId="0530e0ff-088f-43ee-9cb2-0e36e851107d" providerId="ADAL" clId="{82C8312D-AE14-4D9E-B6E1-79451B461957}" dt="2023-11-07T18:16:20.943" v="3"/>
          <ac:picMkLst>
            <pc:docMk/>
            <pc:sldMk cId="2380994617" sldId="265"/>
            <ac:picMk id="9" creationId="{D5B6279E-5ED0-8F19-A7CA-3CE280B344C7}"/>
          </ac:picMkLst>
        </pc:picChg>
        <pc:picChg chg="mod">
          <ac:chgData name="Pamela NGO PONDI DELNISE" userId="0530e0ff-088f-43ee-9cb2-0e36e851107d" providerId="ADAL" clId="{82C8312D-AE14-4D9E-B6E1-79451B461957}" dt="2023-11-07T18:16:20.943" v="3"/>
          <ac:picMkLst>
            <pc:docMk/>
            <pc:sldMk cId="2380994617" sldId="265"/>
            <ac:picMk id="10" creationId="{0494B1DD-C4EC-2620-FC75-E460E8E13E7C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038A9303-B4F6-E552-C3D1-FA0DC0AB8C8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3682D4BF-766C-8650-0263-F27293731D9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13C183-07AE-4B89-ACA7-5D632C5C825C}" type="datetimeFigureOut">
              <a:rPr lang="fr-FR" smtClean="0"/>
              <a:t>05/02/2024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9CFC8646-CC72-6754-5033-1BD6F724D84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D22C46C1-2D39-1323-029A-E8B023CCFE2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77836C-BBC5-40DC-A073-BE5112918FE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9968692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EBECEC2-FB03-4B0D-8D34-0BB12B399CE3}" type="datetimeFigureOut">
              <a:rPr lang="fr-FR" smtClean="0"/>
              <a:t>05/02/2024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639FB21-4CC7-4915-A71F-1808E83208B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070546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 Techn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6">
            <a:extLst>
              <a:ext uri="{FF2B5EF4-FFF2-40B4-BE49-F238E27FC236}">
                <a16:creationId xmlns:a16="http://schemas.microsoft.com/office/drawing/2014/main" id="{3E4F6379-D330-DE8C-432E-0B8C6F71E7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91657" y="2532125"/>
            <a:ext cx="5994662" cy="101232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sz="6600">
                <a:solidFill>
                  <a:schemeClr val="tx1"/>
                </a:solidFill>
                <a:latin typeface="Aptos Black" panose="020B0004020202020204" pitchFamily="34" charset="0"/>
                <a:ea typeface="Roboto Light" panose="02000000000000000000" pitchFamily="2" charset="0"/>
              </a:defRPr>
            </a:lvl1pPr>
          </a:lstStyle>
          <a:p>
            <a:r>
              <a:rPr lang="fr-FR"/>
              <a:t>Titre principal</a:t>
            </a:r>
          </a:p>
        </p:txBody>
      </p:sp>
      <p:sp>
        <p:nvSpPr>
          <p:cNvPr id="16" name="Espace réservé du texte 21">
            <a:extLst>
              <a:ext uri="{FF2B5EF4-FFF2-40B4-BE49-F238E27FC236}">
                <a16:creationId xmlns:a16="http://schemas.microsoft.com/office/drawing/2014/main" id="{91BED003-7523-39BA-8039-18AB77B01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91657" y="2124074"/>
            <a:ext cx="3355876" cy="392949"/>
          </a:xfrm>
          <a:prstGeom prst="rect">
            <a:avLst/>
          </a:prstGeom>
          <a:noFill/>
        </p:spPr>
        <p:txBody>
          <a:bodyPr wrap="square" lIns="108000" rIns="108000" anchor="ctr"/>
          <a:lstStyle>
            <a:lvl1pPr marL="0" indent="0" algn="l">
              <a:lnSpc>
                <a:spcPct val="100000"/>
              </a:lnSpc>
              <a:buNone/>
              <a:defRPr sz="1600" b="0" spc="3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  <a:latin typeface="Aptos Black" panose="020B0004020202020204" pitchFamily="34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fr-FR"/>
              <a:t>TITRE SECONDAIRE</a:t>
            </a:r>
          </a:p>
        </p:txBody>
      </p:sp>
      <p:cxnSp>
        <p:nvCxnSpPr>
          <p:cNvPr id="30" name="Connecteur droit 29">
            <a:extLst>
              <a:ext uri="{FF2B5EF4-FFF2-40B4-BE49-F238E27FC236}">
                <a16:creationId xmlns:a16="http://schemas.microsoft.com/office/drawing/2014/main" id="{709B4EBB-6983-E176-E243-CB4047334C9C}"/>
              </a:ext>
            </a:extLst>
          </p:cNvPr>
          <p:cNvCxnSpPr>
            <a:cxnSpLocks/>
          </p:cNvCxnSpPr>
          <p:nvPr userDrawn="1"/>
        </p:nvCxnSpPr>
        <p:spPr>
          <a:xfrm flipV="1">
            <a:off x="419099" y="293712"/>
            <a:ext cx="0" cy="10922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Connecteur droit 1">
            <a:extLst>
              <a:ext uri="{FF2B5EF4-FFF2-40B4-BE49-F238E27FC236}">
                <a16:creationId xmlns:a16="http://schemas.microsoft.com/office/drawing/2014/main" id="{BC66E5F5-3D2E-54A5-434E-F87A24C7AF02}"/>
              </a:ext>
            </a:extLst>
          </p:cNvPr>
          <p:cNvCxnSpPr>
            <a:cxnSpLocks/>
          </p:cNvCxnSpPr>
          <p:nvPr userDrawn="1"/>
        </p:nvCxnSpPr>
        <p:spPr>
          <a:xfrm>
            <a:off x="11264379" y="6509414"/>
            <a:ext cx="4667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25725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 Busin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Espace réservé pour une image  25">
            <a:extLst>
              <a:ext uri="{FF2B5EF4-FFF2-40B4-BE49-F238E27FC236}">
                <a16:creationId xmlns:a16="http://schemas.microsoft.com/office/drawing/2014/main" id="{457EAFD9-CAE2-D16A-819F-A0E22CCD1D7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23548" y="0"/>
            <a:ext cx="3824652" cy="6858000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28" name="Titre 6">
            <a:extLst>
              <a:ext uri="{FF2B5EF4-FFF2-40B4-BE49-F238E27FC236}">
                <a16:creationId xmlns:a16="http://schemas.microsoft.com/office/drawing/2014/main" id="{9199A312-781A-ABF0-3EA6-9D8D6B3DD2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45578" y="862117"/>
            <a:ext cx="6150886" cy="64992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sz="4000">
                <a:solidFill>
                  <a:schemeClr val="tx1"/>
                </a:solidFill>
                <a:latin typeface="Aptos Black" panose="020B0004020202020204" pitchFamily="34" charset="0"/>
                <a:ea typeface="Roboto Light" panose="02000000000000000000" pitchFamily="2" charset="0"/>
              </a:defRPr>
            </a:lvl1pPr>
          </a:lstStyle>
          <a:p>
            <a:r>
              <a:rPr lang="fr-FR"/>
              <a:t>Titre du chapitre</a:t>
            </a:r>
          </a:p>
        </p:txBody>
      </p:sp>
      <p:sp>
        <p:nvSpPr>
          <p:cNvPr id="29" name="Espace réservé du texte 21">
            <a:extLst>
              <a:ext uri="{FF2B5EF4-FFF2-40B4-BE49-F238E27FC236}">
                <a16:creationId xmlns:a16="http://schemas.microsoft.com/office/drawing/2014/main" id="{D58A0B9C-9626-6691-3518-2FE1A3DCD5C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45578" y="518322"/>
            <a:ext cx="2716798" cy="337445"/>
          </a:xfrm>
          <a:prstGeom prst="rect">
            <a:avLst/>
          </a:prstGeom>
          <a:noFill/>
        </p:spPr>
        <p:txBody>
          <a:bodyPr wrap="square" lIns="108000" rIns="108000" anchor="ctr"/>
          <a:lstStyle>
            <a:lvl1pPr marL="0" indent="0" algn="l">
              <a:lnSpc>
                <a:spcPct val="100000"/>
              </a:lnSpc>
              <a:buNone/>
              <a:defRPr sz="1600" b="0" spc="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  <a:latin typeface="Aptos Black" panose="020B0004020202020204" pitchFamily="34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fr-FR"/>
              <a:t>TITRE SECONDAIRE</a:t>
            </a:r>
          </a:p>
        </p:txBody>
      </p:sp>
      <p:sp>
        <p:nvSpPr>
          <p:cNvPr id="31" name="Espace réservé du texte 30">
            <a:extLst>
              <a:ext uri="{FF2B5EF4-FFF2-40B4-BE49-F238E27FC236}">
                <a16:creationId xmlns:a16="http://schemas.microsoft.com/office/drawing/2014/main" id="{DD0B3A63-785E-5CEA-47EB-5C0182A5CF8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45578" y="1901293"/>
            <a:ext cx="6585526" cy="385882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45720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40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60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80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cxnSp>
        <p:nvCxnSpPr>
          <p:cNvPr id="43" name="Connecteur droit 42">
            <a:extLst>
              <a:ext uri="{FF2B5EF4-FFF2-40B4-BE49-F238E27FC236}">
                <a16:creationId xmlns:a16="http://schemas.microsoft.com/office/drawing/2014/main" id="{2A223E6C-534C-616C-0B57-43709E258178}"/>
              </a:ext>
            </a:extLst>
          </p:cNvPr>
          <p:cNvCxnSpPr>
            <a:cxnSpLocks/>
          </p:cNvCxnSpPr>
          <p:nvPr userDrawn="1"/>
        </p:nvCxnSpPr>
        <p:spPr>
          <a:xfrm flipV="1">
            <a:off x="419099" y="293712"/>
            <a:ext cx="0" cy="10922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Connecteur droit 1">
            <a:extLst>
              <a:ext uri="{FF2B5EF4-FFF2-40B4-BE49-F238E27FC236}">
                <a16:creationId xmlns:a16="http://schemas.microsoft.com/office/drawing/2014/main" id="{14067F85-B36B-3386-5BF6-D6FDF5017A92}"/>
              </a:ext>
            </a:extLst>
          </p:cNvPr>
          <p:cNvCxnSpPr>
            <a:cxnSpLocks/>
          </p:cNvCxnSpPr>
          <p:nvPr userDrawn="1"/>
        </p:nvCxnSpPr>
        <p:spPr>
          <a:xfrm>
            <a:off x="11264379" y="6509414"/>
            <a:ext cx="4667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Image 8" descr="Une image contenant Police, logo, Graphique, texte&#10;&#10;Description générée automatiquement">
            <a:extLst>
              <a:ext uri="{FF2B5EF4-FFF2-40B4-BE49-F238E27FC236}">
                <a16:creationId xmlns:a16="http://schemas.microsoft.com/office/drawing/2014/main" id="{1F683BC9-7695-458A-5AD1-49B7AC997C5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-18133" y="1919597"/>
            <a:ext cx="903698" cy="312102"/>
          </a:xfrm>
          <a:prstGeom prst="rect">
            <a:avLst/>
          </a:prstGeom>
        </p:spPr>
      </p:pic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C27C169-CE80-9FE8-B370-E27DFFF7B98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9F690C6-F4CD-4FC2-95DF-E832AE3B8C23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899454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30">
            <a:extLst>
              <a:ext uri="{FF2B5EF4-FFF2-40B4-BE49-F238E27FC236}">
                <a16:creationId xmlns:a16="http://schemas.microsoft.com/office/drawing/2014/main" id="{CB3E22DA-CFD3-6D83-C8D4-83719104311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84443" y="1951429"/>
            <a:ext cx="6413139" cy="385882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45720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40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60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80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8" name="Espace réservé pour une image  17">
            <a:extLst>
              <a:ext uri="{FF2B5EF4-FFF2-40B4-BE49-F238E27FC236}">
                <a16:creationId xmlns:a16="http://schemas.microsoft.com/office/drawing/2014/main" id="{BE167679-2301-6F36-3852-3B4045BFCBF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190760" y="1"/>
            <a:ext cx="4001240" cy="4695824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cxnSp>
        <p:nvCxnSpPr>
          <p:cNvPr id="25" name="Connecteur droit 24">
            <a:extLst>
              <a:ext uri="{FF2B5EF4-FFF2-40B4-BE49-F238E27FC236}">
                <a16:creationId xmlns:a16="http://schemas.microsoft.com/office/drawing/2014/main" id="{1AADE0E3-C0A9-639A-4C6E-3146C6D0B3F5}"/>
              </a:ext>
            </a:extLst>
          </p:cNvPr>
          <p:cNvCxnSpPr>
            <a:cxnSpLocks/>
          </p:cNvCxnSpPr>
          <p:nvPr userDrawn="1"/>
        </p:nvCxnSpPr>
        <p:spPr>
          <a:xfrm flipV="1">
            <a:off x="419099" y="293712"/>
            <a:ext cx="0" cy="10922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itre 6">
            <a:extLst>
              <a:ext uri="{FF2B5EF4-FFF2-40B4-BE49-F238E27FC236}">
                <a16:creationId xmlns:a16="http://schemas.microsoft.com/office/drawing/2014/main" id="{6D3BAEC0-0E83-B928-B801-C7C5AAB6CF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4443" y="794197"/>
            <a:ext cx="6413137" cy="64992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sz="4000">
                <a:solidFill>
                  <a:schemeClr val="tx1"/>
                </a:solidFill>
                <a:latin typeface="Aptos Black" panose="020B0004020202020204" pitchFamily="34" charset="0"/>
                <a:ea typeface="Roboto Light" panose="02000000000000000000" pitchFamily="2" charset="0"/>
              </a:defRPr>
            </a:lvl1pPr>
          </a:lstStyle>
          <a:p>
            <a:r>
              <a:rPr lang="fr-FR"/>
              <a:t>Titre du chapitre</a:t>
            </a:r>
          </a:p>
        </p:txBody>
      </p:sp>
      <p:sp>
        <p:nvSpPr>
          <p:cNvPr id="28" name="Espace réservé du texte 21">
            <a:extLst>
              <a:ext uri="{FF2B5EF4-FFF2-40B4-BE49-F238E27FC236}">
                <a16:creationId xmlns:a16="http://schemas.microsoft.com/office/drawing/2014/main" id="{FD075ACD-85B0-676D-96F1-267FC9FAEA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4444" y="450402"/>
            <a:ext cx="2716798" cy="337445"/>
          </a:xfrm>
          <a:prstGeom prst="rect">
            <a:avLst/>
          </a:prstGeom>
          <a:noFill/>
        </p:spPr>
        <p:txBody>
          <a:bodyPr wrap="square" lIns="108000" rIns="108000" anchor="ctr"/>
          <a:lstStyle>
            <a:lvl1pPr marL="0" indent="0" algn="l">
              <a:lnSpc>
                <a:spcPct val="100000"/>
              </a:lnSpc>
              <a:buNone/>
              <a:defRPr sz="1600" b="0" spc="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  <a:latin typeface="Aptos Black" panose="020B0004020202020204" pitchFamily="34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fr-FR"/>
              <a:t>TITRE SECONDAIRE</a:t>
            </a:r>
          </a:p>
        </p:txBody>
      </p:sp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C23191D1-2D32-3081-D821-7D040C3345DA}"/>
              </a:ext>
            </a:extLst>
          </p:cNvPr>
          <p:cNvCxnSpPr>
            <a:cxnSpLocks/>
          </p:cNvCxnSpPr>
          <p:nvPr userDrawn="1"/>
        </p:nvCxnSpPr>
        <p:spPr>
          <a:xfrm>
            <a:off x="11264379" y="6509414"/>
            <a:ext cx="4667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Image 3" descr="Une image contenant Police, logo, Graphique, texte&#10;&#10;Description générée automatiquement">
            <a:extLst>
              <a:ext uri="{FF2B5EF4-FFF2-40B4-BE49-F238E27FC236}">
                <a16:creationId xmlns:a16="http://schemas.microsoft.com/office/drawing/2014/main" id="{311B91B0-689A-5824-7B57-29759F0DA1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-18133" y="1919597"/>
            <a:ext cx="903698" cy="312102"/>
          </a:xfrm>
          <a:prstGeom prst="rect">
            <a:avLst/>
          </a:prstGeom>
        </p:spPr>
      </p:pic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D0FB26D-E6E2-DA31-8B0A-1BFF090589A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F690C6-F4CD-4FC2-95DF-E832AE3B8C23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106502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Connecteur droit 24">
            <a:extLst>
              <a:ext uri="{FF2B5EF4-FFF2-40B4-BE49-F238E27FC236}">
                <a16:creationId xmlns:a16="http://schemas.microsoft.com/office/drawing/2014/main" id="{1AADE0E3-C0A9-639A-4C6E-3146C6D0B3F5}"/>
              </a:ext>
            </a:extLst>
          </p:cNvPr>
          <p:cNvCxnSpPr>
            <a:cxnSpLocks/>
          </p:cNvCxnSpPr>
          <p:nvPr userDrawn="1"/>
        </p:nvCxnSpPr>
        <p:spPr>
          <a:xfrm flipV="1">
            <a:off x="419099" y="293712"/>
            <a:ext cx="0" cy="10922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itre 6">
            <a:extLst>
              <a:ext uri="{FF2B5EF4-FFF2-40B4-BE49-F238E27FC236}">
                <a16:creationId xmlns:a16="http://schemas.microsoft.com/office/drawing/2014/main" id="{6D3BAEC0-0E83-B928-B801-C7C5AAB6CF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4444" y="794197"/>
            <a:ext cx="6150886" cy="64992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sz="4000">
                <a:solidFill>
                  <a:schemeClr val="tx1"/>
                </a:solidFill>
                <a:latin typeface="Aptos Black" panose="020B0004020202020204" pitchFamily="34" charset="0"/>
                <a:ea typeface="Roboto Light" panose="02000000000000000000" pitchFamily="2" charset="0"/>
              </a:defRPr>
            </a:lvl1pPr>
          </a:lstStyle>
          <a:p>
            <a:r>
              <a:rPr lang="fr-FR"/>
              <a:t>Titre du chapitre</a:t>
            </a:r>
          </a:p>
        </p:txBody>
      </p:sp>
      <p:sp>
        <p:nvSpPr>
          <p:cNvPr id="28" name="Espace réservé du texte 21">
            <a:extLst>
              <a:ext uri="{FF2B5EF4-FFF2-40B4-BE49-F238E27FC236}">
                <a16:creationId xmlns:a16="http://schemas.microsoft.com/office/drawing/2014/main" id="{FD075ACD-85B0-676D-96F1-267FC9FAEA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4444" y="450402"/>
            <a:ext cx="2716798" cy="337445"/>
          </a:xfrm>
          <a:prstGeom prst="rect">
            <a:avLst/>
          </a:prstGeom>
          <a:noFill/>
        </p:spPr>
        <p:txBody>
          <a:bodyPr wrap="square" lIns="108000" rIns="108000" anchor="ctr"/>
          <a:lstStyle>
            <a:lvl1pPr marL="0" indent="0" algn="l">
              <a:lnSpc>
                <a:spcPct val="100000"/>
              </a:lnSpc>
              <a:buNone/>
              <a:defRPr sz="1600" b="0" spc="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  <a:latin typeface="Aptos Black" panose="020B0004020202020204" pitchFamily="34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fr-FR"/>
              <a:t>TITRE SECONDAIRE</a:t>
            </a:r>
          </a:p>
        </p:txBody>
      </p:sp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949320C5-1BC0-FC2D-0E7C-7F3FC77D224F}"/>
              </a:ext>
            </a:extLst>
          </p:cNvPr>
          <p:cNvCxnSpPr>
            <a:cxnSpLocks/>
          </p:cNvCxnSpPr>
          <p:nvPr userDrawn="1"/>
        </p:nvCxnSpPr>
        <p:spPr>
          <a:xfrm>
            <a:off x="11264379" y="6509414"/>
            <a:ext cx="4667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Espace réservé du texte 30">
            <a:extLst>
              <a:ext uri="{FF2B5EF4-FFF2-40B4-BE49-F238E27FC236}">
                <a16:creationId xmlns:a16="http://schemas.microsoft.com/office/drawing/2014/main" id="{0585007F-7C01-152C-CACB-75D4C1B4FD1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84444" y="1951428"/>
            <a:ext cx="4811556" cy="385882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45720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40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60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80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30">
            <a:extLst>
              <a:ext uri="{FF2B5EF4-FFF2-40B4-BE49-F238E27FC236}">
                <a16:creationId xmlns:a16="http://schemas.microsoft.com/office/drawing/2014/main" id="{8DB07211-B5A9-CBF1-54F6-E4E4D5B55CA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919548" y="1951427"/>
            <a:ext cx="4811556" cy="385882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45720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40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60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80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2" name="Image 1" descr="Une image contenant Police, logo, Graphique, texte&#10;&#10;Description générée automatiquement">
            <a:extLst>
              <a:ext uri="{FF2B5EF4-FFF2-40B4-BE49-F238E27FC236}">
                <a16:creationId xmlns:a16="http://schemas.microsoft.com/office/drawing/2014/main" id="{C3FC50FC-0E1F-D129-6BE7-554D44F4E6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-18133" y="1919597"/>
            <a:ext cx="903698" cy="312102"/>
          </a:xfrm>
          <a:prstGeom prst="rect">
            <a:avLst/>
          </a:prstGeom>
        </p:spPr>
      </p:pic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AF130F6-0601-5854-0093-5C5B4246D91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9F690C6-F4CD-4FC2-95DF-E832AE3B8C23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470437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id="{B4D34AAA-843C-2D3C-E9A6-0BA2E7344EE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8150" y="0"/>
            <a:ext cx="3155275" cy="6858000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5" name="Espace réservé du contenu 14">
            <a:extLst>
              <a:ext uri="{FF2B5EF4-FFF2-40B4-BE49-F238E27FC236}">
                <a16:creationId xmlns:a16="http://schemas.microsoft.com/office/drawing/2014/main" id="{D2B618FE-C282-7212-FF5E-6E4D3B442A0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29966" y="293713"/>
            <a:ext cx="4580184" cy="6191837"/>
          </a:xfrm>
          <a:prstGeom prst="rect">
            <a:avLst/>
          </a:prstGeom>
        </p:spPr>
        <p:txBody>
          <a:bodyPr anchor="ctr"/>
          <a:lstStyle>
            <a:lvl1pPr>
              <a:defRPr sz="1800"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 sz="1800">
                <a:latin typeface="Roboto" panose="02000000000000000000" pitchFamily="2" charset="0"/>
                <a:ea typeface="Roboto" panose="02000000000000000000" pitchFamily="2" charset="0"/>
              </a:defRPr>
            </a:lvl2pPr>
            <a:lvl3pPr>
              <a:defRPr sz="1800">
                <a:latin typeface="Roboto" panose="02000000000000000000" pitchFamily="2" charset="0"/>
                <a:ea typeface="Roboto" panose="02000000000000000000" pitchFamily="2" charset="0"/>
              </a:defRPr>
            </a:lvl3pPr>
            <a:lvl4pPr>
              <a:defRPr sz="1800">
                <a:latin typeface="Roboto" panose="02000000000000000000" pitchFamily="2" charset="0"/>
                <a:ea typeface="Roboto" panose="02000000000000000000" pitchFamily="2" charset="0"/>
              </a:defRPr>
            </a:lvl4pPr>
            <a:lvl5pPr>
              <a:defRPr sz="1800"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13338EA4-42A5-F89E-0C64-9B9D3E467E0C}"/>
              </a:ext>
            </a:extLst>
          </p:cNvPr>
          <p:cNvCxnSpPr>
            <a:cxnSpLocks/>
          </p:cNvCxnSpPr>
          <p:nvPr userDrawn="1"/>
        </p:nvCxnSpPr>
        <p:spPr>
          <a:xfrm flipV="1">
            <a:off x="11813444" y="293713"/>
            <a:ext cx="0" cy="10922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E7DD4D0A-C989-9AF8-1102-E0E3F3A7477F}"/>
              </a:ext>
            </a:extLst>
          </p:cNvPr>
          <p:cNvCxnSpPr>
            <a:cxnSpLocks/>
          </p:cNvCxnSpPr>
          <p:nvPr userDrawn="1"/>
        </p:nvCxnSpPr>
        <p:spPr>
          <a:xfrm>
            <a:off x="429966" y="6508439"/>
            <a:ext cx="4667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re 6">
            <a:extLst>
              <a:ext uri="{FF2B5EF4-FFF2-40B4-BE49-F238E27FC236}">
                <a16:creationId xmlns:a16="http://schemas.microsoft.com/office/drawing/2014/main" id="{99CA06E6-918D-AA47-60D7-06C449021E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096646" y="3772795"/>
            <a:ext cx="2716798" cy="120391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sz="4000">
                <a:solidFill>
                  <a:schemeClr val="tx1"/>
                </a:solidFill>
                <a:latin typeface="Aptos Black" panose="020B0004020202020204" pitchFamily="34" charset="0"/>
                <a:ea typeface="Roboto Light" panose="02000000000000000000" pitchFamily="2" charset="0"/>
              </a:defRPr>
            </a:lvl1pPr>
          </a:lstStyle>
          <a:p>
            <a:r>
              <a:rPr lang="fr-FR"/>
              <a:t>Titre du chapitre</a:t>
            </a:r>
          </a:p>
        </p:txBody>
      </p:sp>
      <p:sp>
        <p:nvSpPr>
          <p:cNvPr id="13" name="Espace réservé du texte 21">
            <a:extLst>
              <a:ext uri="{FF2B5EF4-FFF2-40B4-BE49-F238E27FC236}">
                <a16:creationId xmlns:a16="http://schemas.microsoft.com/office/drawing/2014/main" id="{BE9D7ED7-078D-1CD5-CDB6-61986D71B7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096646" y="3429000"/>
            <a:ext cx="2716798" cy="337445"/>
          </a:xfrm>
          <a:prstGeom prst="rect">
            <a:avLst/>
          </a:prstGeom>
          <a:noFill/>
        </p:spPr>
        <p:txBody>
          <a:bodyPr wrap="square" lIns="108000" rIns="108000" anchor="ctr"/>
          <a:lstStyle>
            <a:lvl1pPr marL="0" indent="0" algn="l">
              <a:lnSpc>
                <a:spcPct val="100000"/>
              </a:lnSpc>
              <a:buNone/>
              <a:defRPr sz="1600" b="0" spc="0">
                <a:gradFill flip="none" rotWithShape="1"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  <a:tileRect/>
                </a:gradFill>
                <a:latin typeface="Aptos Black" panose="020B0004020202020204" pitchFamily="34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fr-FR"/>
              <a:t>TITRE SECONDAIR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BA974361-4431-BAB6-087A-C12C1133DD4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554652" y="6342062"/>
            <a:ext cx="517584" cy="365125"/>
          </a:xfrm>
        </p:spPr>
        <p:txBody>
          <a:bodyPr/>
          <a:lstStyle/>
          <a:p>
            <a:fld id="{E9F690C6-F4CD-4FC2-95DF-E832AE3B8C23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699837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6">
            <a:extLst>
              <a:ext uri="{FF2B5EF4-FFF2-40B4-BE49-F238E27FC236}">
                <a16:creationId xmlns:a16="http://schemas.microsoft.com/office/drawing/2014/main" id="{914675BD-49E0-A80E-F8E9-0FD6C52A0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4444" y="794197"/>
            <a:ext cx="6150886" cy="64992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sz="4000">
                <a:solidFill>
                  <a:schemeClr val="tx1"/>
                </a:solidFill>
                <a:latin typeface="Aptos Black" panose="020B0004020202020204" pitchFamily="34" charset="0"/>
                <a:ea typeface="Roboto Light" panose="02000000000000000000" pitchFamily="2" charset="0"/>
              </a:defRPr>
            </a:lvl1pPr>
          </a:lstStyle>
          <a:p>
            <a:r>
              <a:rPr lang="fr-FR"/>
              <a:t>Titre du chapitre</a:t>
            </a:r>
          </a:p>
        </p:txBody>
      </p:sp>
      <p:sp>
        <p:nvSpPr>
          <p:cNvPr id="3" name="Espace réservé du texte 21">
            <a:extLst>
              <a:ext uri="{FF2B5EF4-FFF2-40B4-BE49-F238E27FC236}">
                <a16:creationId xmlns:a16="http://schemas.microsoft.com/office/drawing/2014/main" id="{DA5F74D6-1A7E-8D15-99FF-A53E592555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4444" y="450402"/>
            <a:ext cx="2716798" cy="337445"/>
          </a:xfrm>
          <a:prstGeom prst="rect">
            <a:avLst/>
          </a:prstGeom>
          <a:noFill/>
        </p:spPr>
        <p:txBody>
          <a:bodyPr wrap="square" lIns="108000" rIns="108000" anchor="ctr"/>
          <a:lstStyle>
            <a:lvl1pPr marL="0" indent="0" algn="l">
              <a:lnSpc>
                <a:spcPct val="100000"/>
              </a:lnSpc>
              <a:buNone/>
              <a:defRPr sz="1600" b="0" spc="300">
                <a:solidFill>
                  <a:schemeClr val="accent3"/>
                </a:solidFill>
                <a:latin typeface="Aptos Black" panose="020B0004020202020204" pitchFamily="34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fr-FR"/>
              <a:t>TITRE SECONDAIRE</a:t>
            </a:r>
          </a:p>
        </p:txBody>
      </p:sp>
    </p:spTree>
    <p:extLst>
      <p:ext uri="{BB962C8B-B14F-4D97-AF65-F5344CB8AC3E}">
        <p14:creationId xmlns:p14="http://schemas.microsoft.com/office/powerpoint/2010/main" val="28241700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727DD87-D7FB-D5C1-E664-E169A4BD71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0307" y="6342062"/>
            <a:ext cx="5175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/>
                </a:solidFill>
                <a:latin typeface="Aptos Black" panose="020B0004020202020204" pitchFamily="34" charset="0"/>
              </a:defRPr>
            </a:lvl1pPr>
          </a:lstStyle>
          <a:p>
            <a:fld id="{E9F690C6-F4CD-4FC2-95DF-E832AE3B8C23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945040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62" r:id="rId2"/>
    <p:sldLayoutId id="2147483650" r:id="rId3"/>
    <p:sldLayoutId id="2147483671" r:id="rId4"/>
    <p:sldLayoutId id="2147483663" r:id="rId5"/>
    <p:sldLayoutId id="2147483660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jfif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hyperlink" Target="mailto:pierre.chavanne@totalenergies.com" TargetMode="Externa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0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13.png"/><Relationship Id="rId18" Type="http://schemas.openxmlformats.org/officeDocument/2006/relationships/image" Target="../media/image17.png"/><Relationship Id="rId3" Type="http://schemas.openxmlformats.org/officeDocument/2006/relationships/oleObject" Target="../embeddings/oleObject1.bin"/><Relationship Id="rId21" Type="http://schemas.openxmlformats.org/officeDocument/2006/relationships/image" Target="../media/image19.png"/><Relationship Id="rId7" Type="http://schemas.openxmlformats.org/officeDocument/2006/relationships/image" Target="../media/image10.png"/><Relationship Id="rId12" Type="http://schemas.microsoft.com/office/2007/relationships/hdphoto" Target="../media/hdphoto3.wdp"/><Relationship Id="rId17" Type="http://schemas.microsoft.com/office/2007/relationships/hdphoto" Target="../media/hdphoto4.wdp"/><Relationship Id="rId2" Type="http://schemas.openxmlformats.org/officeDocument/2006/relationships/slideLayout" Target="../slideLayouts/slideLayout6.xml"/><Relationship Id="rId16" Type="http://schemas.openxmlformats.org/officeDocument/2006/relationships/image" Target="../media/image16.png"/><Relationship Id="rId20" Type="http://schemas.openxmlformats.org/officeDocument/2006/relationships/image" Target="../media/image18.png"/><Relationship Id="rId1" Type="http://schemas.openxmlformats.org/officeDocument/2006/relationships/tags" Target="../tags/tag1.xml"/><Relationship Id="rId6" Type="http://schemas.openxmlformats.org/officeDocument/2006/relationships/image" Target="../media/image9.png"/><Relationship Id="rId11" Type="http://schemas.openxmlformats.org/officeDocument/2006/relationships/image" Target="../media/image12.png"/><Relationship Id="rId5" Type="http://schemas.openxmlformats.org/officeDocument/2006/relationships/image" Target="../media/image8.png"/><Relationship Id="rId15" Type="http://schemas.openxmlformats.org/officeDocument/2006/relationships/image" Target="../media/image15.png"/><Relationship Id="rId23" Type="http://schemas.openxmlformats.org/officeDocument/2006/relationships/image" Target="../media/image21.png"/><Relationship Id="rId10" Type="http://schemas.microsoft.com/office/2007/relationships/hdphoto" Target="../media/hdphoto2.wdp"/><Relationship Id="rId19" Type="http://schemas.microsoft.com/office/2007/relationships/hdphoto" Target="../media/hdphoto5.wdp"/><Relationship Id="rId4" Type="http://schemas.openxmlformats.org/officeDocument/2006/relationships/image" Target="../media/image7.emf"/><Relationship Id="rId9" Type="http://schemas.openxmlformats.org/officeDocument/2006/relationships/image" Target="../media/image11.png"/><Relationship Id="rId14" Type="http://schemas.openxmlformats.org/officeDocument/2006/relationships/image" Target="../media/image14.png"/><Relationship Id="rId22" Type="http://schemas.openxmlformats.org/officeDocument/2006/relationships/image" Target="../media/image20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30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24.png"/><Relationship Id="rId12" Type="http://schemas.openxmlformats.org/officeDocument/2006/relationships/image" Target="../media/image29.png"/><Relationship Id="rId2" Type="http://schemas.openxmlformats.org/officeDocument/2006/relationships/slideLayout" Target="../slideLayouts/slideLayout6.xml"/><Relationship Id="rId16" Type="http://schemas.openxmlformats.org/officeDocument/2006/relationships/image" Target="../media/image33.jpeg"/><Relationship Id="rId1" Type="http://schemas.openxmlformats.org/officeDocument/2006/relationships/tags" Target="../tags/tag2.xml"/><Relationship Id="rId6" Type="http://schemas.openxmlformats.org/officeDocument/2006/relationships/image" Target="../media/image23.png"/><Relationship Id="rId11" Type="http://schemas.openxmlformats.org/officeDocument/2006/relationships/image" Target="../media/image28.png"/><Relationship Id="rId5" Type="http://schemas.openxmlformats.org/officeDocument/2006/relationships/image" Target="../media/image22.png"/><Relationship Id="rId15" Type="http://schemas.openxmlformats.org/officeDocument/2006/relationships/image" Target="../media/image32.jpeg"/><Relationship Id="rId10" Type="http://schemas.openxmlformats.org/officeDocument/2006/relationships/image" Target="../media/image27.png"/><Relationship Id="rId4" Type="http://schemas.openxmlformats.org/officeDocument/2006/relationships/image" Target="../media/image7.emf"/><Relationship Id="rId9" Type="http://schemas.openxmlformats.org/officeDocument/2006/relationships/image" Target="../media/image26.jpeg"/><Relationship Id="rId14" Type="http://schemas.openxmlformats.org/officeDocument/2006/relationships/image" Target="../media/image3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36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7.em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 : coins arrondis 13">
            <a:extLst>
              <a:ext uri="{FF2B5EF4-FFF2-40B4-BE49-F238E27FC236}">
                <a16:creationId xmlns:a16="http://schemas.microsoft.com/office/drawing/2014/main" id="{8E03C77A-7B15-59B8-C6E5-1ECA0A33A2EE}"/>
              </a:ext>
            </a:extLst>
          </p:cNvPr>
          <p:cNvSpPr/>
          <p:nvPr/>
        </p:nvSpPr>
        <p:spPr>
          <a:xfrm>
            <a:off x="8524875" y="3527670"/>
            <a:ext cx="4190999" cy="1194309"/>
          </a:xfrm>
          <a:prstGeom prst="roundRect">
            <a:avLst>
              <a:gd name="adj" fmla="val 50000"/>
            </a:avLst>
          </a:prstGeom>
          <a:solidFill>
            <a:srgbClr val="F89B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 dirty="0">
              <a:latin typeface="Gotham Rounded Medium" panose="02000000000000000000" pitchFamily="50" charset="0"/>
              <a:cs typeface="Poppins" panose="00000500000000000000" pitchFamily="2" charset="0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280C2519-8BB3-2F7D-4555-40F725410B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4256" y="998405"/>
            <a:ext cx="11229653" cy="1562031"/>
          </a:xfrm>
        </p:spPr>
        <p:txBody>
          <a:bodyPr/>
          <a:lstStyle/>
          <a:p>
            <a:r>
              <a:rPr lang="en-US" sz="3200" dirty="0">
                <a:solidFill>
                  <a:srgbClr val="1F1F1F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Analysis and optimization of the pricing </a:t>
            </a:r>
            <a:br>
              <a:rPr lang="en-US" sz="3200" dirty="0">
                <a:solidFill>
                  <a:srgbClr val="1F1F1F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3200" dirty="0">
                <a:solidFill>
                  <a:srgbClr val="1F1F1F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of electric charging networks</a:t>
            </a:r>
            <a:br>
              <a:rPr lang="en-US" sz="3200" dirty="0">
                <a:solidFill>
                  <a:srgbClr val="1F1F1F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2400" i="1" dirty="0">
                <a:solidFill>
                  <a:srgbClr val="1F1F1F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Technical presentation</a:t>
            </a:r>
            <a:br>
              <a:rPr lang="fr-FR" dirty="0"/>
            </a:br>
            <a:r>
              <a:rPr lang="fr-FR" sz="1600" i="1" dirty="0" err="1"/>
              <a:t>January</a:t>
            </a:r>
            <a:r>
              <a:rPr lang="fr-FR" sz="1600" i="1" dirty="0"/>
              <a:t> 24th 2024</a:t>
            </a:r>
            <a:endParaRPr lang="fr-FR" i="1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26BAED19-711E-BEB5-8E19-FB66663AC2A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93905" y="5859595"/>
            <a:ext cx="7962471" cy="505433"/>
          </a:xfrm>
        </p:spPr>
        <p:txBody>
          <a:bodyPr/>
          <a:lstStyle/>
          <a:p>
            <a:r>
              <a:rPr lang="fr-FR" sz="1600" dirty="0" err="1"/>
              <a:t>Bemo</a:t>
            </a:r>
            <a:r>
              <a:rPr lang="fr-FR" sz="1600" dirty="0"/>
              <a:t> - </a:t>
            </a:r>
            <a:r>
              <a:rPr lang="fr-FR" sz="1600" dirty="0" err="1"/>
              <a:t>CentraleSupelec</a:t>
            </a:r>
            <a:r>
              <a:rPr lang="fr-FR" sz="1600" dirty="0"/>
              <a:t> </a:t>
            </a:r>
            <a:r>
              <a:rPr lang="fr-FR" sz="1600" dirty="0" err="1"/>
              <a:t>Essec</a:t>
            </a:r>
            <a:r>
              <a:rPr lang="fr-FR" sz="1600" dirty="0"/>
              <a:t> </a:t>
            </a:r>
            <a:r>
              <a:rPr lang="fr-FR" sz="1600" dirty="0" err="1"/>
              <a:t>Corporate</a:t>
            </a:r>
            <a:r>
              <a:rPr lang="fr-FR" sz="1600" dirty="0"/>
              <a:t> </a:t>
            </a:r>
            <a:r>
              <a:rPr lang="fr-FR" sz="1600" dirty="0" err="1"/>
              <a:t>Research</a:t>
            </a:r>
            <a:r>
              <a:rPr lang="fr-FR" sz="1600" dirty="0"/>
              <a:t> Project</a:t>
            </a:r>
            <a:endParaRPr lang="fr-FR" i="1" dirty="0"/>
          </a:p>
        </p:txBody>
      </p:sp>
      <p:pic>
        <p:nvPicPr>
          <p:cNvPr id="4" name="Image 3" descr="Une image contenant Graphique, Police, capture d’écran, logo&#10;&#10;Description générée automatiquement">
            <a:extLst>
              <a:ext uri="{FF2B5EF4-FFF2-40B4-BE49-F238E27FC236}">
                <a16:creationId xmlns:a16="http://schemas.microsoft.com/office/drawing/2014/main" id="{DA9C6765-9134-4906-BF0A-2C0ACF8721D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097" y="-397136"/>
            <a:ext cx="2762250" cy="1471613"/>
          </a:xfrm>
          <a:prstGeom prst="rect">
            <a:avLst/>
          </a:prstGeom>
        </p:spPr>
      </p:pic>
      <p:pic>
        <p:nvPicPr>
          <p:cNvPr id="7" name="Graphique 6">
            <a:extLst>
              <a:ext uri="{FF2B5EF4-FFF2-40B4-BE49-F238E27FC236}">
                <a16:creationId xmlns:a16="http://schemas.microsoft.com/office/drawing/2014/main" id="{CD523F58-C667-257D-E3F4-F3C76381C5B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0374" y="3693552"/>
            <a:ext cx="862543" cy="862543"/>
          </a:xfrm>
          <a:prstGeom prst="rect">
            <a:avLst/>
          </a:prstGeom>
        </p:spPr>
      </p:pic>
      <p:pic>
        <p:nvPicPr>
          <p:cNvPr id="6" name="Image 5" descr="Une image contenant symbole, logo, Graphique, Police&#10;&#10;Description générée automatiquement">
            <a:extLst>
              <a:ext uri="{FF2B5EF4-FFF2-40B4-BE49-F238E27FC236}">
                <a16:creationId xmlns:a16="http://schemas.microsoft.com/office/drawing/2014/main" id="{DE70728E-759A-571C-009A-71923920251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20245" y="3692824"/>
            <a:ext cx="667139" cy="864000"/>
          </a:xfrm>
          <a:prstGeom prst="rect">
            <a:avLst/>
          </a:prstGeom>
        </p:spPr>
      </p:pic>
      <p:pic>
        <p:nvPicPr>
          <p:cNvPr id="12" name="Image 11" descr="Une image contenant personne, texte, tenue, intérieur&#10;&#10;Description générée automatiquement">
            <a:extLst>
              <a:ext uri="{FF2B5EF4-FFF2-40B4-BE49-F238E27FC236}">
                <a16:creationId xmlns:a16="http://schemas.microsoft.com/office/drawing/2014/main" id="{D292E5C9-5A15-B9AB-9DF3-5734DB7FFA0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348" y="2829964"/>
            <a:ext cx="2399999" cy="3600000"/>
          </a:xfrm>
          <a:prstGeom prst="rect">
            <a:avLst/>
          </a:prstGeom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296438627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52B8373-62D1-544B-7A5C-41B622D6A3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868" y="302393"/>
            <a:ext cx="9738335" cy="649922"/>
          </a:xfrm>
        </p:spPr>
        <p:txBody>
          <a:bodyPr/>
          <a:lstStyle/>
          <a:p>
            <a:r>
              <a:rPr lang="fr-FR" dirty="0" err="1"/>
              <a:t>Bemo</a:t>
            </a:r>
            <a:r>
              <a:rPr lang="fr-FR" dirty="0"/>
              <a:t> </a:t>
            </a:r>
            <a:r>
              <a:rPr lang="fr-FR" dirty="0" err="1"/>
              <a:t>pricer</a:t>
            </a:r>
            <a:r>
              <a:rPr lang="fr-FR" dirty="0"/>
              <a:t> </a:t>
            </a:r>
            <a:r>
              <a:rPr lang="fr-FR" dirty="0" err="1"/>
              <a:t>tool</a:t>
            </a:r>
            <a:r>
              <a:rPr lang="fr-FR" dirty="0"/>
              <a:t> </a:t>
            </a:r>
            <a:r>
              <a:rPr lang="fr-FR" dirty="0" err="1"/>
              <a:t>presentation</a:t>
            </a:r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30F12B2-8A30-D6A2-6AC7-ABAE7B02E28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72126" y="1091009"/>
            <a:ext cx="11156825" cy="453186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>
                <a:ea typeface="Calibri" panose="020F0502020204030204" pitchFamily="34" charset="0"/>
              </a:rPr>
              <a:t>Session inputs 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dirty="0">
                <a:ea typeface="Calibri" panose="020F0502020204030204" pitchFamily="34" charset="0"/>
              </a:rPr>
              <a:t>Type Duration : time (h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dirty="0">
                <a:ea typeface="Calibri" panose="020F0502020204030204" pitchFamily="34" charset="0"/>
              </a:rPr>
              <a:t>Or type </a:t>
            </a:r>
            <a:r>
              <a:rPr lang="fr-FR" dirty="0" err="1">
                <a:ea typeface="Calibri" panose="020F0502020204030204" pitchFamily="34" charset="0"/>
              </a:rPr>
              <a:t>Consumed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energy</a:t>
            </a:r>
            <a:r>
              <a:rPr lang="fr-FR" dirty="0">
                <a:ea typeface="Calibri" panose="020F0502020204030204" pitchFamily="34" charset="0"/>
              </a:rPr>
              <a:t> : </a:t>
            </a:r>
            <a:r>
              <a:rPr lang="fr-FR" dirty="0" err="1">
                <a:ea typeface="Calibri" panose="020F0502020204030204" pitchFamily="34" charset="0"/>
              </a:rPr>
              <a:t>quantity</a:t>
            </a:r>
            <a:r>
              <a:rPr lang="fr-FR" dirty="0">
                <a:ea typeface="Calibri" panose="020F0502020204030204" pitchFamily="34" charset="0"/>
              </a:rPr>
              <a:t> (kWh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dirty="0">
                <a:ea typeface="Calibri" panose="020F0502020204030204" pitchFamily="34" charset="0"/>
              </a:rPr>
              <a:t>Start date time (UTC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dirty="0" err="1">
                <a:ea typeface="Calibri" panose="020F0502020204030204" pitchFamily="34" charset="0"/>
              </a:rPr>
              <a:t>Unuseful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parameters</a:t>
            </a:r>
            <a:r>
              <a:rPr lang="fr-FR" dirty="0">
                <a:ea typeface="Calibri" panose="020F0502020204030204" pitchFamily="34" charset="0"/>
              </a:rPr>
              <a:t> : session i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 err="1">
                <a:ea typeface="Calibri" panose="020F0502020204030204" pitchFamily="34" charset="0"/>
              </a:rPr>
              <a:t>Tariff</a:t>
            </a:r>
            <a:r>
              <a:rPr lang="fr-FR" dirty="0">
                <a:ea typeface="Calibri" panose="020F0502020204030204" pitchFamily="34" charset="0"/>
              </a:rPr>
              <a:t> inputs 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dirty="0">
                <a:ea typeface="Calibri" panose="020F0502020204030204" pitchFamily="34" charset="0"/>
              </a:rPr>
              <a:t>Price formula : </a:t>
            </a:r>
            <a:r>
              <a:rPr lang="fr-FR" dirty="0" err="1">
                <a:ea typeface="Calibri" panose="020F0502020204030204" pitchFamily="34" charset="0"/>
              </a:rPr>
              <a:t>from</a:t>
            </a:r>
            <a:r>
              <a:rPr lang="fr-FR" dirty="0">
                <a:ea typeface="Calibri" panose="020F0502020204030204" pitchFamily="34" charset="0"/>
              </a:rPr>
              <a:t> simple to </a:t>
            </a:r>
            <a:r>
              <a:rPr lang="fr-FR" dirty="0" err="1">
                <a:ea typeface="Calibri" panose="020F0502020204030204" pitchFamily="34" charset="0"/>
              </a:rPr>
              <a:t>complex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including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parameters</a:t>
            </a:r>
            <a:r>
              <a:rPr lang="fr-FR" dirty="0">
                <a:ea typeface="Calibri" panose="020F0502020204030204" pitchFamily="34" charset="0"/>
              </a:rPr>
              <a:t> in time, </a:t>
            </a:r>
            <a:r>
              <a:rPr lang="fr-FR" dirty="0" err="1">
                <a:ea typeface="Calibri" panose="020F0502020204030204" pitchFamily="34" charset="0"/>
              </a:rPr>
              <a:t>energy</a:t>
            </a:r>
            <a:r>
              <a:rPr lang="fr-FR" dirty="0">
                <a:ea typeface="Calibri" panose="020F0502020204030204" pitchFamily="34" charset="0"/>
              </a:rPr>
              <a:t>. </a:t>
            </a:r>
            <a:r>
              <a:rPr lang="fr-FR" dirty="0" err="1">
                <a:ea typeface="Calibri" panose="020F0502020204030204" pitchFamily="34" charset="0"/>
              </a:rPr>
              <a:t>Listed</a:t>
            </a:r>
            <a:r>
              <a:rPr lang="fr-FR" dirty="0">
                <a:ea typeface="Calibri" panose="020F0502020204030204" pitchFamily="34" charset="0"/>
              </a:rPr>
              <a:t> in csv file for </a:t>
            </a:r>
            <a:r>
              <a:rPr lang="fr-FR" dirty="0" err="1">
                <a:ea typeface="Calibri" panose="020F0502020204030204" pitchFamily="34" charset="0"/>
              </a:rPr>
              <a:t>various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CPOs</a:t>
            </a:r>
            <a:r>
              <a:rPr lang="fr-FR" dirty="0">
                <a:ea typeface="Calibri" panose="020F0502020204030204" pitchFamily="34" charset="0"/>
              </a:rPr>
              <a:t>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dirty="0" err="1">
                <a:ea typeface="Calibri" panose="020F0502020204030204" pitchFamily="34" charset="0"/>
              </a:rPr>
              <a:t>Unuseful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parameters</a:t>
            </a:r>
            <a:r>
              <a:rPr lang="fr-FR" dirty="0">
                <a:ea typeface="Calibri" panose="020F0502020204030204" pitchFamily="34" charset="0"/>
              </a:rPr>
              <a:t> : </a:t>
            </a:r>
            <a:r>
              <a:rPr lang="fr-FR" dirty="0" err="1">
                <a:ea typeface="Calibri" panose="020F0502020204030204" pitchFamily="34" charset="0"/>
              </a:rPr>
              <a:t>currency</a:t>
            </a:r>
            <a:r>
              <a:rPr lang="fr-FR" dirty="0">
                <a:ea typeface="Calibri" panose="020F0502020204030204" pitchFamily="34" charset="0"/>
              </a:rPr>
              <a:t>, countr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fr-FR" dirty="0">
              <a:ea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>
                <a:ea typeface="Calibri" panose="020F0502020204030204" pitchFamily="34" charset="0"/>
              </a:rPr>
              <a:t>All </a:t>
            </a:r>
            <a:r>
              <a:rPr lang="fr-FR" dirty="0" err="1">
                <a:ea typeface="Calibri" panose="020F0502020204030204" pitchFamily="34" charset="0"/>
              </a:rPr>
              <a:t>wrapped</a:t>
            </a:r>
            <a:r>
              <a:rPr lang="fr-FR" dirty="0">
                <a:ea typeface="Calibri" panose="020F0502020204030204" pitchFamily="34" charset="0"/>
              </a:rPr>
              <a:t> in </a:t>
            </a:r>
            <a:r>
              <a:rPr lang="fr-FR" dirty="0" err="1">
                <a:ea typeface="Calibri" panose="020F0502020204030204" pitchFamily="34" charset="0"/>
              </a:rPr>
              <a:t>json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object</a:t>
            </a:r>
            <a:r>
              <a:rPr lang="fr-FR" dirty="0">
                <a:ea typeface="Calibri" panose="020F0502020204030204" pitchFamily="34" charset="0"/>
              </a:rPr>
              <a:t> (</a:t>
            </a:r>
            <a:r>
              <a:rPr lang="fr-FR" dirty="0" err="1">
                <a:ea typeface="Calibri" panose="020F0502020204030204" pitchFamily="34" charset="0"/>
              </a:rPr>
              <a:t>here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called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body_dict</a:t>
            </a:r>
            <a:r>
              <a:rPr lang="fr-FR" dirty="0">
                <a:ea typeface="Calibri" panose="020F0502020204030204" pitchFamily="34" charset="0"/>
              </a:rPr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>
                <a:ea typeface="Calibri" panose="020F0502020204030204" pitchFamily="34" charset="0"/>
              </a:rPr>
              <a:t>Computation </a:t>
            </a:r>
            <a:r>
              <a:rPr lang="fr-FR" dirty="0" err="1">
                <a:ea typeface="Calibri" panose="020F0502020204030204" pitchFamily="34" charset="0"/>
              </a:rPr>
              <a:t>submitted</a:t>
            </a:r>
            <a:r>
              <a:rPr lang="fr-FR" dirty="0">
                <a:ea typeface="Calibri" panose="020F0502020204030204" pitchFamily="34" charset="0"/>
              </a:rPr>
              <a:t> to </a:t>
            </a:r>
            <a:r>
              <a:rPr lang="fr-FR" dirty="0" err="1">
                <a:ea typeface="Calibri" panose="020F0502020204030204" pitchFamily="34" charset="0"/>
              </a:rPr>
              <a:t>Bemo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pricer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using</a:t>
            </a:r>
            <a:r>
              <a:rPr lang="fr-FR" dirty="0">
                <a:ea typeface="Calibri" panose="020F0502020204030204" pitchFamily="34" charset="0"/>
              </a:rPr>
              <a:t> HTTP </a:t>
            </a:r>
            <a:r>
              <a:rPr lang="fr-FR" dirty="0" err="1">
                <a:ea typeface="Calibri" panose="020F0502020204030204" pitchFamily="34" charset="0"/>
              </a:rPr>
              <a:t>request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trough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PostMan</a:t>
            </a:r>
            <a:r>
              <a:rPr lang="fr-FR" dirty="0">
                <a:ea typeface="Calibri" panose="020F0502020204030204" pitchFamily="34" charset="0"/>
              </a:rPr>
              <a:t> softwar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>
                <a:ea typeface="Calibri" panose="020F0502020204030204" pitchFamily="34" charset="0"/>
              </a:rPr>
              <a:t>All process </a:t>
            </a:r>
            <a:r>
              <a:rPr lang="fr-FR" dirty="0" err="1">
                <a:ea typeface="Calibri" panose="020F0502020204030204" pitchFamily="34" charset="0"/>
              </a:rPr>
              <a:t>coded</a:t>
            </a:r>
            <a:r>
              <a:rPr lang="fr-FR" dirty="0">
                <a:ea typeface="Calibri" panose="020F0502020204030204" pitchFamily="34" charset="0"/>
              </a:rPr>
              <a:t> in Python for </a:t>
            </a:r>
            <a:r>
              <a:rPr lang="fr-FR" dirty="0" err="1">
                <a:ea typeface="Calibri" panose="020F0502020204030204" pitchFamily="34" charset="0"/>
              </a:rPr>
              <a:t>this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student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project</a:t>
            </a:r>
            <a:r>
              <a:rPr lang="fr-FR" dirty="0">
                <a:ea typeface="Calibri" panose="020F0502020204030204" pitchFamily="34" charset="0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dirty="0">
              <a:ea typeface="Calibri" panose="020F0502020204030204" pitchFamily="34" charset="0"/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C9D517D-70A7-51E5-CA4E-DCE743F41F1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9F690C6-F4CD-4FC2-95DF-E832AE3B8C23}" type="slidenum">
              <a:rPr lang="fr-FR" smtClean="0"/>
              <a:pPr/>
              <a:t>10</a:t>
            </a:fld>
            <a:endParaRPr lang="fr-FR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9F33D193-BE6A-DE62-4270-04469410F8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24962" y="5041620"/>
            <a:ext cx="6295632" cy="1550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66914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52B8373-62D1-544B-7A5C-41B622D6A3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868" y="302393"/>
            <a:ext cx="9738335" cy="649922"/>
          </a:xfrm>
        </p:spPr>
        <p:txBody>
          <a:bodyPr/>
          <a:lstStyle/>
          <a:p>
            <a:r>
              <a:rPr lang="fr-FR" dirty="0"/>
              <a:t>Next </a:t>
            </a:r>
            <a:r>
              <a:rPr lang="fr-FR" dirty="0" err="1"/>
              <a:t>steps</a:t>
            </a:r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30F12B2-8A30-D6A2-6AC7-ABAE7B02E28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72126" y="1091009"/>
            <a:ext cx="11156825" cy="453186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>
                <a:ea typeface="Calibri" panose="020F0502020204030204" pitchFamily="34" charset="0"/>
              </a:rPr>
              <a:t>End of </a:t>
            </a:r>
            <a:r>
              <a:rPr lang="fr-FR" dirty="0" err="1">
                <a:ea typeface="Calibri" panose="020F0502020204030204" pitchFamily="34" charset="0"/>
              </a:rPr>
              <a:t>January</a:t>
            </a:r>
            <a:r>
              <a:rPr lang="fr-FR" dirty="0">
                <a:ea typeface="Calibri" panose="020F0502020204030204" pitchFamily="34" charset="0"/>
              </a:rPr>
              <a:t> - </a:t>
            </a:r>
            <a:r>
              <a:rPr lang="fr-FR" dirty="0" err="1">
                <a:ea typeface="Calibri" panose="020F0502020204030204" pitchFamily="34" charset="0"/>
              </a:rPr>
              <a:t>Beginning</a:t>
            </a:r>
            <a:r>
              <a:rPr lang="fr-FR" dirty="0">
                <a:ea typeface="Calibri" panose="020F0502020204030204" pitchFamily="34" charset="0"/>
              </a:rPr>
              <a:t> of </a:t>
            </a:r>
            <a:r>
              <a:rPr lang="fr-FR" dirty="0" err="1">
                <a:ea typeface="Calibri" panose="020F0502020204030204" pitchFamily="34" charset="0"/>
              </a:rPr>
              <a:t>February</a:t>
            </a:r>
            <a:r>
              <a:rPr lang="fr-FR" dirty="0">
                <a:ea typeface="Calibri" panose="020F0502020204030204" pitchFamily="34" charset="0"/>
              </a:rPr>
              <a:t> : Physical meeting to launch the </a:t>
            </a:r>
            <a:r>
              <a:rPr lang="fr-FR" dirty="0" err="1">
                <a:ea typeface="Calibri" panose="020F0502020204030204" pitchFamily="34" charset="0"/>
              </a:rPr>
              <a:t>project</a:t>
            </a:r>
            <a:endParaRPr lang="fr-FR" dirty="0">
              <a:ea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dirty="0" err="1">
                <a:ea typeface="Calibri" panose="020F0502020204030204" pitchFamily="34" charset="0"/>
              </a:rPr>
              <a:t>Answering</a:t>
            </a:r>
            <a:r>
              <a:rPr lang="fr-FR" dirty="0">
                <a:ea typeface="Calibri" panose="020F0502020204030204" pitchFamily="34" charset="0"/>
              </a:rPr>
              <a:t> questions about the </a:t>
            </a:r>
            <a:r>
              <a:rPr lang="fr-FR" dirty="0" err="1">
                <a:ea typeface="Calibri" panose="020F0502020204030204" pitchFamily="34" charset="0"/>
              </a:rPr>
              <a:t>CPOs-Bemo</a:t>
            </a:r>
            <a:r>
              <a:rPr lang="fr-FR" dirty="0">
                <a:ea typeface="Calibri" panose="020F0502020204030204" pitchFamily="34" charset="0"/>
              </a:rPr>
              <a:t> value </a:t>
            </a:r>
            <a:r>
              <a:rPr lang="fr-FR" dirty="0" err="1">
                <a:ea typeface="Calibri" panose="020F0502020204030204" pitchFamily="34" charset="0"/>
              </a:rPr>
              <a:t>chain</a:t>
            </a:r>
            <a:r>
              <a:rPr lang="fr-FR" dirty="0">
                <a:ea typeface="Calibri" panose="020F0502020204030204" pitchFamily="34" charset="0"/>
              </a:rPr>
              <a:t>, </a:t>
            </a:r>
            <a:r>
              <a:rPr lang="fr-FR" dirty="0" err="1">
                <a:ea typeface="Calibri" panose="020F0502020204030204" pitchFamily="34" charset="0"/>
              </a:rPr>
              <a:t>Bemo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pricing</a:t>
            </a:r>
            <a:r>
              <a:rPr lang="fr-FR" dirty="0">
                <a:ea typeface="Calibri" panose="020F0502020204030204" pitchFamily="34" charset="0"/>
              </a:rPr>
              <a:t> process, </a:t>
            </a:r>
            <a:r>
              <a:rPr lang="fr-FR" dirty="0" err="1">
                <a:ea typeface="Calibri" panose="020F0502020204030204" pitchFamily="34" charset="0"/>
              </a:rPr>
              <a:t>parameters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available</a:t>
            </a:r>
            <a:r>
              <a:rPr lang="fr-FR" dirty="0">
                <a:ea typeface="Calibri" panose="020F0502020204030204" pitchFamily="34" charset="0"/>
              </a:rPr>
              <a:t> in </a:t>
            </a:r>
            <a:r>
              <a:rPr lang="fr-FR" dirty="0" err="1">
                <a:ea typeface="Calibri" panose="020F0502020204030204" pitchFamily="34" charset="0"/>
              </a:rPr>
              <a:t>datasets</a:t>
            </a:r>
            <a:r>
              <a:rPr lang="fr-FR" dirty="0">
                <a:ea typeface="Calibri" panose="020F0502020204030204" pitchFamily="34" charset="0"/>
              </a:rPr>
              <a:t>…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dirty="0" err="1">
                <a:ea typeface="Calibri" panose="020F0502020204030204" pitchFamily="34" charset="0"/>
              </a:rPr>
              <a:t>Review</a:t>
            </a:r>
            <a:r>
              <a:rPr lang="fr-FR" dirty="0">
                <a:ea typeface="Calibri" panose="020F0502020204030204" pitchFamily="34" charset="0"/>
              </a:rPr>
              <a:t> of </a:t>
            </a:r>
            <a:r>
              <a:rPr lang="fr-FR" dirty="0" err="1">
                <a:ea typeface="Calibri" panose="020F0502020204030204" pitchFamily="34" charset="0"/>
              </a:rPr>
              <a:t>available</a:t>
            </a:r>
            <a:r>
              <a:rPr lang="fr-FR" dirty="0">
                <a:ea typeface="Calibri" panose="020F0502020204030204" pitchFamily="34" charset="0"/>
              </a:rPr>
              <a:t> documents : </a:t>
            </a:r>
            <a:r>
              <a:rPr lang="fr-FR" dirty="0" err="1">
                <a:ea typeface="Calibri" panose="020F0502020204030204" pitchFamily="34" charset="0"/>
              </a:rPr>
              <a:t>Github</a:t>
            </a:r>
            <a:r>
              <a:rPr lang="fr-FR" dirty="0">
                <a:ea typeface="Calibri" panose="020F0502020204030204" pitchFamily="34" charset="0"/>
              </a:rPr>
              <a:t> repo, </a:t>
            </a:r>
            <a:r>
              <a:rPr lang="fr-FR" dirty="0" err="1">
                <a:ea typeface="Calibri" panose="020F0502020204030204" pitchFamily="34" charset="0"/>
              </a:rPr>
              <a:t>datasets</a:t>
            </a:r>
            <a:r>
              <a:rPr lang="fr-FR" dirty="0">
                <a:ea typeface="Calibri" panose="020F0502020204030204" pitchFamily="34" charset="0"/>
              </a:rPr>
              <a:t>, </a:t>
            </a:r>
            <a:r>
              <a:rPr lang="fr-FR" dirty="0" err="1">
                <a:ea typeface="Calibri" panose="020F0502020204030204" pitchFamily="34" charset="0"/>
              </a:rPr>
              <a:t>presentations</a:t>
            </a:r>
            <a:r>
              <a:rPr lang="fr-FR" dirty="0">
                <a:ea typeface="Calibri" panose="020F0502020204030204" pitchFamily="34" charset="0"/>
              </a:rPr>
              <a:t>, </a:t>
            </a:r>
            <a:r>
              <a:rPr lang="fr-FR" dirty="0" err="1">
                <a:ea typeface="Calibri" panose="020F0502020204030204" pitchFamily="34" charset="0"/>
              </a:rPr>
              <a:t>calendar</a:t>
            </a:r>
            <a:endParaRPr lang="fr-FR" dirty="0">
              <a:ea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dirty="0" err="1">
                <a:ea typeface="Calibri" panose="020F0502020204030204" pitchFamily="34" charset="0"/>
              </a:rPr>
              <a:t>Overview</a:t>
            </a:r>
            <a:r>
              <a:rPr lang="fr-FR" dirty="0">
                <a:ea typeface="Calibri" panose="020F0502020204030204" pitchFamily="34" charset="0"/>
              </a:rPr>
              <a:t> of the </a:t>
            </a:r>
            <a:r>
              <a:rPr lang="fr-FR" dirty="0" err="1">
                <a:ea typeface="Calibri" panose="020F0502020204030204" pitchFamily="34" charset="0"/>
              </a:rPr>
              <a:t>differents</a:t>
            </a:r>
            <a:r>
              <a:rPr lang="fr-FR" dirty="0">
                <a:ea typeface="Calibri" panose="020F0502020204030204" pitchFamily="34" charset="0"/>
              </a:rPr>
              <a:t> items and </a:t>
            </a:r>
            <a:r>
              <a:rPr lang="fr-FR" dirty="0" err="1">
                <a:ea typeface="Calibri" panose="020F0502020204030204" pitchFamily="34" charset="0"/>
              </a:rPr>
              <a:t>especially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details</a:t>
            </a:r>
            <a:r>
              <a:rPr lang="fr-FR" dirty="0">
                <a:ea typeface="Calibri" panose="020F0502020204030204" pitchFamily="34" charset="0"/>
              </a:rPr>
              <a:t> on item #1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fr-FR" dirty="0">
              <a:ea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>
                <a:ea typeface="Calibri" panose="020F0502020204030204" pitchFamily="34" charset="0"/>
              </a:rPr>
              <a:t>Weekly </a:t>
            </a:r>
            <a:r>
              <a:rPr lang="fr-FR" dirty="0" err="1">
                <a:ea typeface="Calibri" panose="020F0502020204030204" pitchFamily="34" charset="0"/>
              </a:rPr>
              <a:t>available</a:t>
            </a:r>
            <a:r>
              <a:rPr lang="fr-FR" dirty="0">
                <a:ea typeface="Calibri" panose="020F0502020204030204" pitchFamily="34" charset="0"/>
              </a:rPr>
              <a:t> time slots to </a:t>
            </a:r>
            <a:r>
              <a:rPr lang="fr-FR" dirty="0" err="1">
                <a:ea typeface="Calibri" panose="020F0502020204030204" pitchFamily="34" charset="0"/>
              </a:rPr>
              <a:t>share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progress</a:t>
            </a:r>
            <a:r>
              <a:rPr lang="fr-FR" dirty="0">
                <a:ea typeface="Calibri" panose="020F0502020204030204" pitchFamily="34" charset="0"/>
              </a:rPr>
              <a:t>, </a:t>
            </a:r>
            <a:r>
              <a:rPr lang="fr-FR" dirty="0" err="1">
                <a:ea typeface="Calibri" panose="020F0502020204030204" pitchFamily="34" charset="0"/>
              </a:rPr>
              <a:t>difficulties</a:t>
            </a:r>
            <a:r>
              <a:rPr lang="fr-FR" dirty="0">
                <a:ea typeface="Calibri" panose="020F0502020204030204" pitchFamily="34" charset="0"/>
              </a:rPr>
              <a:t>, questions… </a:t>
            </a:r>
            <a:r>
              <a:rPr lang="fr-FR" b="1" dirty="0" err="1">
                <a:solidFill>
                  <a:srgbClr val="FF0000"/>
                </a:solidFill>
                <a:ea typeface="Calibri" panose="020F0502020204030204" pitchFamily="34" charset="0"/>
              </a:rPr>
              <a:t>please</a:t>
            </a:r>
            <a:r>
              <a:rPr lang="fr-FR" b="1" dirty="0">
                <a:solidFill>
                  <a:srgbClr val="FF0000"/>
                </a:solidFill>
                <a:ea typeface="Calibri" panose="020F0502020204030204" pitchFamily="34" charset="0"/>
              </a:rPr>
              <a:t> Runjia </a:t>
            </a:r>
            <a:r>
              <a:rPr lang="fr-FR" b="1" dirty="0" err="1">
                <a:solidFill>
                  <a:srgbClr val="FF0000"/>
                </a:solidFill>
                <a:ea typeface="Calibri" panose="020F0502020204030204" pitchFamily="34" charset="0"/>
              </a:rPr>
              <a:t>send</a:t>
            </a:r>
            <a:r>
              <a:rPr lang="fr-FR" b="1" dirty="0">
                <a:solidFill>
                  <a:srgbClr val="FF0000"/>
                </a:solidFill>
                <a:ea typeface="Calibri" panose="020F0502020204030204" pitchFamily="34" charset="0"/>
              </a:rPr>
              <a:t> me </a:t>
            </a:r>
            <a:r>
              <a:rPr lang="fr-FR" b="1" dirty="0" err="1">
                <a:solidFill>
                  <a:srgbClr val="FF0000"/>
                </a:solidFill>
                <a:ea typeface="Calibri" panose="020F0502020204030204" pitchFamily="34" charset="0"/>
              </a:rPr>
              <a:t>your</a:t>
            </a:r>
            <a:r>
              <a:rPr lang="fr-FR" b="1" dirty="0">
                <a:solidFill>
                  <a:srgbClr val="FF0000"/>
                </a:solidFill>
                <a:ea typeface="Calibri" panose="020F0502020204030204" pitchFamily="34" charset="0"/>
              </a:rPr>
              <a:t> team </a:t>
            </a:r>
            <a:r>
              <a:rPr lang="fr-FR" b="1" dirty="0" err="1">
                <a:solidFill>
                  <a:srgbClr val="FF0000"/>
                </a:solidFill>
                <a:ea typeface="Calibri" panose="020F0502020204030204" pitchFamily="34" charset="0"/>
              </a:rPr>
              <a:t>availabilities</a:t>
            </a:r>
            <a:endParaRPr lang="fr-FR" b="1" dirty="0">
              <a:solidFill>
                <a:srgbClr val="FF0000"/>
              </a:solidFill>
              <a:ea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dirty="0">
                <a:ea typeface="Calibri" panose="020F0502020204030204" pitchFamily="34" charset="0"/>
              </a:rPr>
              <a:t>Not </a:t>
            </a:r>
            <a:r>
              <a:rPr lang="fr-FR" dirty="0" err="1">
                <a:ea typeface="Calibri" panose="020F0502020204030204" pitchFamily="34" charset="0"/>
              </a:rPr>
              <a:t>mandatory</a:t>
            </a:r>
            <a:r>
              <a:rPr lang="fr-FR" dirty="0">
                <a:ea typeface="Calibri" panose="020F0502020204030204" pitchFamily="34" charset="0"/>
              </a:rPr>
              <a:t> but </a:t>
            </a:r>
            <a:r>
              <a:rPr lang="fr-FR" dirty="0" err="1">
                <a:ea typeface="Calibri" panose="020F0502020204030204" pitchFamily="34" charset="0"/>
              </a:rPr>
              <a:t>available</a:t>
            </a:r>
            <a:r>
              <a:rPr lang="fr-FR" dirty="0">
                <a:ea typeface="Calibri" panose="020F0502020204030204" pitchFamily="34" charset="0"/>
              </a:rPr>
              <a:t> : </a:t>
            </a:r>
            <a:r>
              <a:rPr lang="fr-FR" dirty="0" err="1">
                <a:ea typeface="Calibri" panose="020F0502020204030204" pitchFamily="34" charset="0"/>
              </a:rPr>
              <a:t>send</a:t>
            </a:r>
            <a:r>
              <a:rPr lang="fr-FR" dirty="0">
                <a:ea typeface="Calibri" panose="020F0502020204030204" pitchFamily="34" charset="0"/>
              </a:rPr>
              <a:t> me an email the </a:t>
            </a:r>
            <a:r>
              <a:rPr lang="fr-FR" dirty="0" err="1">
                <a:ea typeface="Calibri" panose="020F0502020204030204" pitchFamily="34" charset="0"/>
              </a:rPr>
              <a:t>day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before</a:t>
            </a:r>
            <a:r>
              <a:rPr lang="fr-FR" dirty="0">
                <a:ea typeface="Calibri" panose="020F0502020204030204" pitchFamily="34" charset="0"/>
              </a:rPr>
              <a:t> and I </a:t>
            </a:r>
            <a:r>
              <a:rPr lang="fr-FR" dirty="0" err="1">
                <a:ea typeface="Calibri" panose="020F0502020204030204" pitchFamily="34" charset="0"/>
              </a:rPr>
              <a:t>will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share</a:t>
            </a:r>
            <a:r>
              <a:rPr lang="fr-FR" dirty="0">
                <a:ea typeface="Calibri" panose="020F0502020204030204" pitchFamily="34" charset="0"/>
              </a:rPr>
              <a:t> a Teams </a:t>
            </a:r>
            <a:r>
              <a:rPr lang="fr-FR" dirty="0" err="1">
                <a:ea typeface="Calibri" panose="020F0502020204030204" pitchFamily="34" charset="0"/>
              </a:rPr>
              <a:t>link</a:t>
            </a:r>
            <a:r>
              <a:rPr lang="fr-FR" dirty="0">
                <a:ea typeface="Calibri" panose="020F0502020204030204" pitchFamily="34" charset="0"/>
              </a:rPr>
              <a:t> for an online meeting if </a:t>
            </a:r>
            <a:r>
              <a:rPr lang="fr-FR" dirty="0" err="1">
                <a:ea typeface="Calibri" panose="020F0502020204030204" pitchFamily="34" charset="0"/>
              </a:rPr>
              <a:t>needed</a:t>
            </a:r>
            <a:endParaRPr lang="fr-FR" dirty="0">
              <a:ea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fr-FR" dirty="0">
              <a:ea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 err="1">
                <a:ea typeface="Calibri" panose="020F0502020204030204" pitchFamily="34" charset="0"/>
              </a:rPr>
              <a:t>Milestones</a:t>
            </a:r>
            <a:r>
              <a:rPr lang="fr-FR" dirty="0">
                <a:ea typeface="Calibri" panose="020F0502020204030204" pitchFamily="34" charset="0"/>
              </a:rPr>
              <a:t> to </a:t>
            </a:r>
            <a:r>
              <a:rPr lang="fr-FR" dirty="0" err="1">
                <a:ea typeface="Calibri" panose="020F0502020204030204" pitchFamily="34" charset="0"/>
              </a:rPr>
              <a:t>share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progress</a:t>
            </a:r>
            <a:r>
              <a:rPr lang="fr-FR" dirty="0">
                <a:ea typeface="Calibri" panose="020F0502020204030204" pitchFamily="34" charset="0"/>
              </a:rPr>
              <a:t> on item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dirty="0" err="1">
                <a:ea typeface="Calibri" panose="020F0502020204030204" pitchFamily="34" charset="0"/>
              </a:rPr>
              <a:t>Mandatory</a:t>
            </a:r>
            <a:r>
              <a:rPr lang="fr-FR" dirty="0">
                <a:ea typeface="Calibri" panose="020F0502020204030204" pitchFamily="34" charset="0"/>
              </a:rPr>
              <a:t> : dates to plan at the end of </a:t>
            </a:r>
            <a:r>
              <a:rPr lang="fr-FR" dirty="0" err="1">
                <a:ea typeface="Calibri" panose="020F0502020204030204" pitchFamily="34" charset="0"/>
              </a:rPr>
              <a:t>each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month</a:t>
            </a:r>
            <a:r>
              <a:rPr lang="fr-FR" dirty="0">
                <a:ea typeface="Calibri" panose="020F0502020204030204" pitchFamily="34" charset="0"/>
              </a:rPr>
              <a:t>. </a:t>
            </a:r>
            <a:r>
              <a:rPr lang="fr-FR" b="1" dirty="0" err="1">
                <a:solidFill>
                  <a:srgbClr val="FF0000"/>
                </a:solidFill>
                <a:ea typeface="Calibri" panose="020F0502020204030204" pitchFamily="34" charset="0"/>
              </a:rPr>
              <a:t>please</a:t>
            </a:r>
            <a:r>
              <a:rPr lang="fr-FR" b="1" dirty="0">
                <a:solidFill>
                  <a:srgbClr val="FF0000"/>
                </a:solidFill>
                <a:ea typeface="Calibri" panose="020F0502020204030204" pitchFamily="34" charset="0"/>
              </a:rPr>
              <a:t> Runjia </a:t>
            </a:r>
            <a:r>
              <a:rPr lang="fr-FR" b="1" dirty="0" err="1">
                <a:solidFill>
                  <a:srgbClr val="FF0000"/>
                </a:solidFill>
                <a:ea typeface="Calibri" panose="020F0502020204030204" pitchFamily="34" charset="0"/>
              </a:rPr>
              <a:t>send</a:t>
            </a:r>
            <a:r>
              <a:rPr lang="fr-FR" b="1" dirty="0">
                <a:solidFill>
                  <a:srgbClr val="FF0000"/>
                </a:solidFill>
                <a:ea typeface="Calibri" panose="020F0502020204030204" pitchFamily="34" charset="0"/>
              </a:rPr>
              <a:t> me </a:t>
            </a:r>
            <a:r>
              <a:rPr lang="fr-FR" b="1" dirty="0" err="1">
                <a:solidFill>
                  <a:srgbClr val="FF0000"/>
                </a:solidFill>
                <a:ea typeface="Calibri" panose="020F0502020204030204" pitchFamily="34" charset="0"/>
              </a:rPr>
              <a:t>your</a:t>
            </a:r>
            <a:r>
              <a:rPr lang="fr-FR" b="1" dirty="0">
                <a:solidFill>
                  <a:srgbClr val="FF0000"/>
                </a:solidFill>
                <a:ea typeface="Calibri" panose="020F0502020204030204" pitchFamily="34" charset="0"/>
              </a:rPr>
              <a:t> team </a:t>
            </a:r>
            <a:r>
              <a:rPr lang="fr-FR" b="1" dirty="0" err="1">
                <a:solidFill>
                  <a:srgbClr val="FF0000"/>
                </a:solidFill>
                <a:ea typeface="Calibri" panose="020F0502020204030204" pitchFamily="34" charset="0"/>
              </a:rPr>
              <a:t>availabilities</a:t>
            </a:r>
            <a:endParaRPr lang="fr-FR" b="1" dirty="0">
              <a:solidFill>
                <a:srgbClr val="FF0000"/>
              </a:solidFill>
              <a:ea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fr-FR" dirty="0">
              <a:ea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fr-FR" dirty="0">
              <a:ea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dirty="0">
              <a:ea typeface="Calibri" panose="020F0502020204030204" pitchFamily="34" charset="0"/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C9D517D-70A7-51E5-CA4E-DCE743F41F1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9F690C6-F4CD-4FC2-95DF-E832AE3B8C23}" type="slidenum">
              <a:rPr lang="fr-FR" smtClean="0"/>
              <a:pPr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2113986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52B8373-62D1-544B-7A5C-41B622D6A3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868" y="302393"/>
            <a:ext cx="11063703" cy="1203919"/>
          </a:xfrm>
        </p:spPr>
        <p:txBody>
          <a:bodyPr/>
          <a:lstStyle/>
          <a:p>
            <a:r>
              <a:rPr lang="fr-FR" dirty="0"/>
              <a:t>Appendix : Use of </a:t>
            </a:r>
            <a:r>
              <a:rPr lang="fr-FR" dirty="0" err="1"/>
              <a:t>PostMan</a:t>
            </a:r>
            <a:r>
              <a:rPr lang="fr-FR" dirty="0"/>
              <a:t> </a:t>
            </a:r>
            <a:r>
              <a:rPr lang="fr-FR" dirty="0" err="1"/>
              <a:t>tool</a:t>
            </a:r>
            <a:r>
              <a:rPr lang="fr-FR" dirty="0"/>
              <a:t> </a:t>
            </a:r>
            <a:br>
              <a:rPr lang="fr-FR" dirty="0"/>
            </a:br>
            <a:r>
              <a:rPr lang="fr-FR" dirty="0"/>
              <a:t>for </a:t>
            </a:r>
            <a:r>
              <a:rPr lang="fr-FR" dirty="0" err="1"/>
              <a:t>Pricer</a:t>
            </a:r>
            <a:r>
              <a:rPr lang="fr-FR" dirty="0"/>
              <a:t> single </a:t>
            </a:r>
            <a:r>
              <a:rPr lang="fr-FR" dirty="0" err="1"/>
              <a:t>request</a:t>
            </a:r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30F12B2-8A30-D6A2-6AC7-ABAE7B02E28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74868" y="1810197"/>
            <a:ext cx="10718166" cy="453186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>
                <a:ea typeface="Calibri" panose="020F0502020204030204" pitchFamily="34" charset="0"/>
              </a:rPr>
              <a:t>If </a:t>
            </a:r>
            <a:r>
              <a:rPr lang="fr-FR" dirty="0" err="1">
                <a:ea typeface="Calibri" panose="020F0502020204030204" pitchFamily="34" charset="0"/>
              </a:rPr>
              <a:t>needed</a:t>
            </a:r>
            <a:endParaRPr lang="fr-FR" dirty="0">
              <a:ea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 err="1">
                <a:ea typeface="Calibri" panose="020F0502020204030204" pitchFamily="34" charset="0"/>
              </a:rPr>
              <a:t>Refer</a:t>
            </a:r>
            <a:r>
              <a:rPr lang="fr-FR" dirty="0">
                <a:ea typeface="Calibri" panose="020F0502020204030204" pitchFamily="34" charset="0"/>
              </a:rPr>
              <a:t> to Pierre Chavanne for more </a:t>
            </a:r>
            <a:r>
              <a:rPr lang="fr-FR" dirty="0" err="1">
                <a:ea typeface="Calibri" panose="020F0502020204030204" pitchFamily="34" charset="0"/>
              </a:rPr>
              <a:t>details</a:t>
            </a:r>
            <a:r>
              <a:rPr lang="fr-FR" dirty="0">
                <a:ea typeface="Calibri" panose="020F0502020204030204" pitchFamily="34" charset="0"/>
              </a:rPr>
              <a:t>.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C9D517D-70A7-51E5-CA4E-DCE743F41F1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9F690C6-F4CD-4FC2-95DF-E832AE3B8C23}" type="slidenum">
              <a:rPr lang="fr-FR" smtClean="0"/>
              <a:pPr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9006706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52B8373-62D1-544B-7A5C-41B622D6A3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868" y="302393"/>
            <a:ext cx="11063703" cy="1203919"/>
          </a:xfrm>
        </p:spPr>
        <p:txBody>
          <a:bodyPr/>
          <a:lstStyle/>
          <a:p>
            <a:r>
              <a:rPr lang="fr-FR" dirty="0"/>
              <a:t>Appendix : Use of </a:t>
            </a:r>
            <a:r>
              <a:rPr lang="fr-FR" dirty="0" err="1"/>
              <a:t>PostMan</a:t>
            </a:r>
            <a:r>
              <a:rPr lang="fr-FR" dirty="0"/>
              <a:t> </a:t>
            </a:r>
            <a:r>
              <a:rPr lang="fr-FR" dirty="0" err="1"/>
              <a:t>tool</a:t>
            </a:r>
            <a:r>
              <a:rPr lang="fr-FR" dirty="0"/>
              <a:t> </a:t>
            </a:r>
            <a:br>
              <a:rPr lang="fr-FR" dirty="0"/>
            </a:br>
            <a:r>
              <a:rPr lang="fr-FR" dirty="0"/>
              <a:t>for </a:t>
            </a:r>
            <a:r>
              <a:rPr lang="fr-FR" dirty="0" err="1"/>
              <a:t>Pricer</a:t>
            </a:r>
            <a:r>
              <a:rPr lang="fr-FR" dirty="0"/>
              <a:t> partial batch </a:t>
            </a:r>
            <a:r>
              <a:rPr lang="fr-FR" dirty="0" err="1"/>
              <a:t>request</a:t>
            </a:r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C9D517D-70A7-51E5-CA4E-DCE743F41F1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9F690C6-F4CD-4FC2-95DF-E832AE3B8C23}" type="slidenum">
              <a:rPr lang="fr-FR" smtClean="0"/>
              <a:pPr/>
              <a:t>13</a:t>
            </a:fld>
            <a:endParaRPr lang="fr-FR"/>
          </a:p>
        </p:txBody>
      </p:sp>
      <p:sp>
        <p:nvSpPr>
          <p:cNvPr id="7" name="Espace réservé du texte 3">
            <a:extLst>
              <a:ext uri="{FF2B5EF4-FFF2-40B4-BE49-F238E27FC236}">
                <a16:creationId xmlns:a16="http://schemas.microsoft.com/office/drawing/2014/main" id="{26BEDE08-447E-F5B1-C14D-F87FEB0BF9A2}"/>
              </a:ext>
            </a:extLst>
          </p:cNvPr>
          <p:cNvSpPr txBox="1">
            <a:spLocks/>
          </p:cNvSpPr>
          <p:nvPr/>
        </p:nvSpPr>
        <p:spPr>
          <a:xfrm>
            <a:off x="874868" y="1810197"/>
            <a:ext cx="10718166" cy="4531865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>
                <a:ea typeface="Calibri" panose="020F0502020204030204" pitchFamily="34" charset="0"/>
              </a:rPr>
              <a:t>If need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>
                <a:ea typeface="Calibri" panose="020F0502020204030204" pitchFamily="34" charset="0"/>
              </a:rPr>
              <a:t>Refer to Pierre Chavanne for more details.</a:t>
            </a:r>
            <a:endParaRPr lang="fr-FR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13075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52B8373-62D1-544B-7A5C-41B622D6A3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684" y="197440"/>
            <a:ext cx="5335616" cy="649922"/>
          </a:xfrm>
        </p:spPr>
        <p:txBody>
          <a:bodyPr/>
          <a:lstStyle/>
          <a:p>
            <a:r>
              <a:rPr lang="fr-FR" dirty="0"/>
              <a:t>Contact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C9D517D-70A7-51E5-CA4E-DCE743F41F1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9F690C6-F4CD-4FC2-95DF-E832AE3B8C23}" type="slidenum">
              <a:rPr lang="fr-FR" smtClean="0"/>
              <a:pPr/>
              <a:t>14</a:t>
            </a:fld>
            <a:endParaRPr lang="fr-FR"/>
          </a:p>
        </p:txBody>
      </p:sp>
      <p:sp>
        <p:nvSpPr>
          <p:cNvPr id="8" name="Espace réservé du texte 3">
            <a:extLst>
              <a:ext uri="{FF2B5EF4-FFF2-40B4-BE49-F238E27FC236}">
                <a16:creationId xmlns:a16="http://schemas.microsoft.com/office/drawing/2014/main" id="{15A4040C-50A3-5593-AB6E-492E3D6866B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891" y="976545"/>
            <a:ext cx="5418109" cy="5047992"/>
          </a:xfrm>
        </p:spPr>
        <p:txBody>
          <a:bodyPr/>
          <a:lstStyle/>
          <a:p>
            <a:pPr marL="285750" indent="-285750" algn="just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fr-FR" dirty="0">
                <a:ea typeface="Calibri" panose="020F0502020204030204" pitchFamily="34" charset="0"/>
              </a:rPr>
              <a:t>For </a:t>
            </a:r>
            <a:r>
              <a:rPr lang="fr-FR" dirty="0" err="1">
                <a:ea typeface="Calibri" panose="020F0502020204030204" pitchFamily="34" charset="0"/>
              </a:rPr>
              <a:t>specific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inquiries</a:t>
            </a:r>
            <a:r>
              <a:rPr lang="fr-FR" dirty="0">
                <a:ea typeface="Calibri" panose="020F0502020204030204" pitchFamily="34" charset="0"/>
              </a:rPr>
              <a:t>, </a:t>
            </a:r>
            <a:r>
              <a:rPr lang="fr-FR" dirty="0" err="1">
                <a:ea typeface="Calibri" panose="020F0502020204030204" pitchFamily="34" charset="0"/>
              </a:rPr>
              <a:t>additional</a:t>
            </a:r>
            <a:r>
              <a:rPr lang="fr-FR" dirty="0">
                <a:ea typeface="Calibri" panose="020F0502020204030204" pitchFamily="34" charset="0"/>
              </a:rPr>
              <a:t> displays or more </a:t>
            </a:r>
            <a:r>
              <a:rPr lang="fr-FR" dirty="0" err="1">
                <a:ea typeface="Calibri" panose="020F0502020204030204" pitchFamily="34" charset="0"/>
              </a:rPr>
              <a:t>details</a:t>
            </a:r>
            <a:r>
              <a:rPr lang="fr-FR" dirty="0">
                <a:ea typeface="Calibri" panose="020F0502020204030204" pitchFamily="34" charset="0"/>
              </a:rPr>
              <a:t>, </a:t>
            </a:r>
            <a:r>
              <a:rPr lang="fr-FR" dirty="0" err="1">
                <a:ea typeface="Calibri" panose="020F0502020204030204" pitchFamily="34" charset="0"/>
              </a:rPr>
              <a:t>please</a:t>
            </a:r>
            <a:r>
              <a:rPr lang="fr-FR" dirty="0">
                <a:ea typeface="Calibri" panose="020F0502020204030204" pitchFamily="34" charset="0"/>
              </a:rPr>
              <a:t> email me at : </a:t>
            </a:r>
          </a:p>
          <a:p>
            <a:pPr algn="just">
              <a:lnSpc>
                <a:spcPct val="115000"/>
              </a:lnSpc>
            </a:pPr>
            <a:endParaRPr lang="fr-FR" dirty="0">
              <a:ea typeface="Calibri" panose="020F0502020204030204" pitchFamily="34" charset="0"/>
            </a:endParaRPr>
          </a:p>
          <a:p>
            <a:pPr algn="just">
              <a:lnSpc>
                <a:spcPct val="115000"/>
              </a:lnSpc>
            </a:pPr>
            <a:r>
              <a:rPr lang="fr-FR" dirty="0">
                <a:ea typeface="Calibri" panose="020F0502020204030204" pitchFamily="34" charset="0"/>
                <a:hlinkClick r:id="rId2"/>
              </a:rPr>
              <a:t>pierre.chavanne@totalenergies.com</a:t>
            </a:r>
            <a:endParaRPr lang="fr-FR" dirty="0">
              <a:ea typeface="Calibri" panose="020F0502020204030204" pitchFamily="34" charset="0"/>
            </a:endParaRPr>
          </a:p>
          <a:p>
            <a:pPr algn="just">
              <a:lnSpc>
                <a:spcPct val="115000"/>
              </a:lnSpc>
            </a:pPr>
            <a:endParaRPr lang="fr-FR" dirty="0">
              <a:ea typeface="Calibri" panose="020F0502020204030204" pitchFamily="34" charset="0"/>
            </a:endParaRPr>
          </a:p>
          <a:p>
            <a:pPr algn="just">
              <a:lnSpc>
                <a:spcPct val="115000"/>
              </a:lnSpc>
            </a:pPr>
            <a:endParaRPr lang="fr-FR" dirty="0">
              <a:ea typeface="Calibri" panose="020F0502020204030204" pitchFamily="34" charset="0"/>
            </a:endParaRPr>
          </a:p>
          <a:p>
            <a:pPr marL="285750" indent="-285750" algn="just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fr-FR" dirty="0">
                <a:ea typeface="Calibri" panose="020F0502020204030204" pitchFamily="34" charset="0"/>
              </a:rPr>
              <a:t>If </a:t>
            </a:r>
            <a:r>
              <a:rPr lang="fr-FR" dirty="0" err="1">
                <a:ea typeface="Calibri" panose="020F0502020204030204" pitchFamily="34" charset="0"/>
              </a:rPr>
              <a:t>you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want</a:t>
            </a:r>
            <a:r>
              <a:rPr lang="fr-FR" dirty="0">
                <a:ea typeface="Calibri" panose="020F0502020204030204" pitchFamily="34" charset="0"/>
              </a:rPr>
              <a:t> to </a:t>
            </a:r>
            <a:r>
              <a:rPr lang="fr-FR" dirty="0" err="1">
                <a:ea typeface="Calibri" panose="020F0502020204030204" pitchFamily="34" charset="0"/>
              </a:rPr>
              <a:t>work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further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using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these</a:t>
            </a:r>
            <a:r>
              <a:rPr lang="fr-FR" dirty="0">
                <a:ea typeface="Calibri" panose="020F0502020204030204" pitchFamily="34" charset="0"/>
              </a:rPr>
              <a:t> data, </a:t>
            </a:r>
            <a:r>
              <a:rPr lang="fr-FR" dirty="0" err="1">
                <a:ea typeface="Calibri" panose="020F0502020204030204" pitchFamily="34" charset="0"/>
              </a:rPr>
              <a:t>please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indicate</a:t>
            </a:r>
            <a:r>
              <a:rPr lang="fr-FR" dirty="0">
                <a:ea typeface="Calibri" panose="020F0502020204030204" pitchFamily="34" charset="0"/>
              </a:rPr>
              <a:t> the </a:t>
            </a:r>
            <a:r>
              <a:rPr lang="fr-FR" dirty="0" err="1">
                <a:ea typeface="Calibri" panose="020F0502020204030204" pitchFamily="34" charset="0"/>
              </a:rPr>
              <a:t>author</a:t>
            </a:r>
            <a:r>
              <a:rPr lang="fr-FR" dirty="0">
                <a:ea typeface="Calibri" panose="020F0502020204030204" pitchFamily="34" charset="0"/>
              </a:rPr>
              <a:t> and the release date.</a:t>
            </a:r>
          </a:p>
          <a:p>
            <a:pPr algn="just">
              <a:lnSpc>
                <a:spcPct val="115000"/>
              </a:lnSpc>
            </a:pPr>
            <a:endParaRPr lang="fr-FR" dirty="0">
              <a:ea typeface="Calibri" panose="020F0502020204030204" pitchFamily="34" charset="0"/>
            </a:endParaRPr>
          </a:p>
          <a:p>
            <a:endParaRPr lang="fr-FR" dirty="0">
              <a:ea typeface="Calibri" panose="020F0502020204030204" pitchFamily="34" charset="0"/>
            </a:endParaRPr>
          </a:p>
        </p:txBody>
      </p:sp>
      <p:pic>
        <p:nvPicPr>
          <p:cNvPr id="4" name="Image 3" descr="Une image contenant Graphique, Police, capture d’écran, logo&#10;&#10;Description générée automatiquement">
            <a:extLst>
              <a:ext uri="{FF2B5EF4-FFF2-40B4-BE49-F238E27FC236}">
                <a16:creationId xmlns:a16="http://schemas.microsoft.com/office/drawing/2014/main" id="{6CAAA102-F606-AA3F-1809-77BE15C4CF2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6830" y="5143164"/>
            <a:ext cx="2762636" cy="1476581"/>
          </a:xfrm>
          <a:prstGeom prst="rect">
            <a:avLst/>
          </a:prstGeom>
        </p:spPr>
      </p:pic>
      <p:pic>
        <p:nvPicPr>
          <p:cNvPr id="5" name="Espace réservé pour une image  4" descr="Une image contenant personne, tenue&#10;&#10;Description générée automatiquement">
            <a:extLst>
              <a:ext uri="{FF2B5EF4-FFF2-40B4-BE49-F238E27FC236}">
                <a16:creationId xmlns:a16="http://schemas.microsoft.com/office/drawing/2014/main" id="{91A5421D-B56D-FFA7-AEA4-187A814BD45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19" t="17143" r="20015" b="12153"/>
          <a:stretch/>
        </p:blipFill>
        <p:spPr>
          <a:xfrm>
            <a:off x="6392961" y="0"/>
            <a:ext cx="5799039" cy="6858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9872653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52B8373-62D1-544B-7A5C-41B622D6A3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869" y="302393"/>
            <a:ext cx="6150886" cy="649922"/>
          </a:xfrm>
        </p:spPr>
        <p:txBody>
          <a:bodyPr/>
          <a:lstStyle/>
          <a:p>
            <a:r>
              <a:rPr lang="fr-FR" dirty="0"/>
              <a:t>Table of contents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30F12B2-8A30-D6A2-6AC7-ABAE7B02E28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5344" y="1278384"/>
            <a:ext cx="10718166" cy="4531865"/>
          </a:xfrm>
        </p:spPr>
        <p:txBody>
          <a:bodyPr/>
          <a:lstStyle/>
          <a:p>
            <a:pPr marL="285750" indent="-28575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fr-FR" sz="2000" dirty="0" err="1">
                <a:ea typeface="Calibri" panose="020F0502020204030204" pitchFamily="34" charset="0"/>
              </a:rPr>
              <a:t>Presentation</a:t>
            </a:r>
            <a:r>
              <a:rPr lang="fr-FR" sz="2000" dirty="0">
                <a:ea typeface="Calibri" panose="020F0502020204030204" pitchFamily="34" charset="0"/>
              </a:rPr>
              <a:t> of </a:t>
            </a:r>
            <a:r>
              <a:rPr lang="fr-FR" sz="2000" dirty="0" err="1">
                <a:ea typeface="Calibri" panose="020F0502020204030204" pitchFamily="34" charset="0"/>
              </a:rPr>
              <a:t>Bemo</a:t>
            </a:r>
            <a:endParaRPr lang="fr-FR" sz="2000" dirty="0">
              <a:ea typeface="Calibri" panose="020F0502020204030204" pitchFamily="34" charset="0"/>
            </a:endParaRPr>
          </a:p>
          <a:p>
            <a:pPr marL="285750" indent="-28575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fr-FR" sz="2000" dirty="0">
                <a:ea typeface="Calibri" panose="020F0502020204030204" pitchFamily="34" charset="0"/>
              </a:rPr>
              <a:t>Project </a:t>
            </a:r>
            <a:r>
              <a:rPr lang="fr-FR" sz="2000" dirty="0" err="1">
                <a:ea typeface="Calibri" panose="020F0502020204030204" pitchFamily="34" charset="0"/>
              </a:rPr>
              <a:t>overview</a:t>
            </a:r>
            <a:endParaRPr lang="fr-FR" sz="2000" dirty="0">
              <a:ea typeface="Calibri" panose="020F0502020204030204" pitchFamily="34" charset="0"/>
            </a:endParaRPr>
          </a:p>
          <a:p>
            <a:pPr marL="285750" indent="-28575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fr-FR" sz="2000" dirty="0">
                <a:ea typeface="Calibri" panose="020F0502020204030204" pitchFamily="34" charset="0"/>
              </a:rPr>
              <a:t>Project guidelines</a:t>
            </a:r>
          </a:p>
          <a:p>
            <a:pPr marL="285750" indent="-28575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fr-FR" sz="2000" dirty="0">
                <a:ea typeface="Calibri" panose="020F0502020204030204" pitchFamily="34" charset="0"/>
              </a:rPr>
              <a:t>Example of use case issue</a:t>
            </a:r>
          </a:p>
          <a:p>
            <a:pPr marL="285750" indent="-28575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fr-FR" sz="2000" dirty="0" err="1">
                <a:ea typeface="Calibri" panose="020F0502020204030204" pitchFamily="34" charset="0"/>
              </a:rPr>
              <a:t>Bemo</a:t>
            </a:r>
            <a:r>
              <a:rPr lang="fr-FR" sz="2000" dirty="0">
                <a:ea typeface="Calibri" panose="020F0502020204030204" pitchFamily="34" charset="0"/>
              </a:rPr>
              <a:t> </a:t>
            </a:r>
            <a:r>
              <a:rPr lang="fr-FR" sz="2000" dirty="0" err="1">
                <a:ea typeface="Calibri" panose="020F0502020204030204" pitchFamily="34" charset="0"/>
              </a:rPr>
              <a:t>pricer</a:t>
            </a:r>
            <a:r>
              <a:rPr lang="fr-FR" sz="2000" dirty="0">
                <a:ea typeface="Calibri" panose="020F0502020204030204" pitchFamily="34" charset="0"/>
              </a:rPr>
              <a:t> </a:t>
            </a:r>
            <a:r>
              <a:rPr lang="fr-FR" sz="2000" dirty="0" err="1">
                <a:ea typeface="Calibri" panose="020F0502020204030204" pitchFamily="34" charset="0"/>
              </a:rPr>
              <a:t>tool</a:t>
            </a:r>
            <a:r>
              <a:rPr lang="fr-FR" sz="2000" dirty="0">
                <a:ea typeface="Calibri" panose="020F0502020204030204" pitchFamily="34" charset="0"/>
              </a:rPr>
              <a:t> </a:t>
            </a:r>
            <a:r>
              <a:rPr lang="fr-FR" sz="2000" dirty="0" err="1">
                <a:ea typeface="Calibri" panose="020F0502020204030204" pitchFamily="34" charset="0"/>
              </a:rPr>
              <a:t>presentation</a:t>
            </a:r>
            <a:endParaRPr lang="fr-FR" sz="2000" dirty="0">
              <a:ea typeface="Calibri" panose="020F0502020204030204" pitchFamily="34" charset="0"/>
            </a:endParaRPr>
          </a:p>
          <a:p>
            <a:pPr marL="285750" indent="-28575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fr-FR" sz="2000" dirty="0">
                <a:ea typeface="Calibri" panose="020F0502020204030204" pitchFamily="34" charset="0"/>
              </a:rPr>
              <a:t>Appendices</a:t>
            </a:r>
          </a:p>
          <a:p>
            <a:endParaRPr lang="fr-FR" sz="1200" dirty="0">
              <a:ea typeface="Calibri" panose="020F0502020204030204" pitchFamily="34" charset="0"/>
            </a:endParaRPr>
          </a:p>
          <a:p>
            <a:endParaRPr lang="fr-FR" sz="1400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C9D517D-70A7-51E5-CA4E-DCE743F41F1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9F690C6-F4CD-4FC2-95DF-E832AE3B8C23}" type="slidenum">
              <a:rPr lang="fr-FR" smtClean="0"/>
              <a:pPr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823088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DF48285-4C0E-61C0-44FA-9B1E757B7F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F48285-4C0E-61C0-44FA-9B1E757B7F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480E383-786B-8996-A078-1CC30FDE61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84443" y="794197"/>
            <a:ext cx="7054443" cy="482633"/>
          </a:xfrm>
        </p:spPr>
        <p:txBody>
          <a:bodyPr vert="horz"/>
          <a:lstStyle/>
          <a:p>
            <a:r>
              <a:rPr lang="fr-FR" sz="2800" dirty="0" err="1"/>
              <a:t>Electromobility</a:t>
            </a:r>
            <a:r>
              <a:rPr lang="fr-FR" sz="2800" dirty="0"/>
              <a:t> value </a:t>
            </a:r>
            <a:r>
              <a:rPr lang="fr-FR" sz="2800" dirty="0" err="1"/>
              <a:t>chain</a:t>
            </a:r>
            <a:endParaRPr lang="fr-FR" sz="28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5307A2A-E3D4-26D0-F5A4-038DDB90F4D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/>
              <a:t>About </a:t>
            </a:r>
            <a:r>
              <a:rPr lang="fr-FR" dirty="0" err="1"/>
              <a:t>Bemo</a:t>
            </a:r>
            <a:endParaRPr lang="fr-FR" dirty="0"/>
          </a:p>
        </p:txBody>
      </p:sp>
      <p:sp>
        <p:nvSpPr>
          <p:cNvPr id="6" name="Ellipse 67">
            <a:extLst>
              <a:ext uri="{FF2B5EF4-FFF2-40B4-BE49-F238E27FC236}">
                <a16:creationId xmlns:a16="http://schemas.microsoft.com/office/drawing/2014/main" id="{D019432E-1F5B-B29D-A0AF-D75D4182FE34}"/>
              </a:ext>
            </a:extLst>
          </p:cNvPr>
          <p:cNvSpPr/>
          <p:nvPr/>
        </p:nvSpPr>
        <p:spPr>
          <a:xfrm>
            <a:off x="6251767" y="787847"/>
            <a:ext cx="1132513" cy="1107922"/>
          </a:xfrm>
          <a:prstGeom prst="ellipse">
            <a:avLst/>
          </a:prstGeom>
          <a:solidFill>
            <a:schemeClr val="accent5">
              <a:lumMod val="20000"/>
              <a:lumOff val="80000"/>
              <a:alpha val="5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AutoShape 12">
            <a:extLst>
              <a:ext uri="{FF2B5EF4-FFF2-40B4-BE49-F238E27FC236}">
                <a16:creationId xmlns:a16="http://schemas.microsoft.com/office/drawing/2014/main" id="{EE53F184-CDD3-EC77-AC03-479D15B9681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775514" y="4453086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7464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AutoShape 14">
            <a:extLst>
              <a:ext uri="{FF2B5EF4-FFF2-40B4-BE49-F238E27FC236}">
                <a16:creationId xmlns:a16="http://schemas.microsoft.com/office/drawing/2014/main" id="{02F3C03C-2930-34A1-655B-C418750F0B5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927914" y="4605486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7464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Ellipse 70">
            <a:extLst>
              <a:ext uri="{FF2B5EF4-FFF2-40B4-BE49-F238E27FC236}">
                <a16:creationId xmlns:a16="http://schemas.microsoft.com/office/drawing/2014/main" id="{3BCE7FAE-6C73-B881-C952-053C082172E3}"/>
              </a:ext>
            </a:extLst>
          </p:cNvPr>
          <p:cNvSpPr/>
          <p:nvPr/>
        </p:nvSpPr>
        <p:spPr>
          <a:xfrm>
            <a:off x="6295748" y="5131600"/>
            <a:ext cx="1132513" cy="1107922"/>
          </a:xfrm>
          <a:prstGeom prst="ellipse">
            <a:avLst/>
          </a:prstGeom>
          <a:solidFill>
            <a:schemeClr val="accent5">
              <a:lumMod val="20000"/>
              <a:lumOff val="80000"/>
              <a:alpha val="5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Ellipse 71">
            <a:extLst>
              <a:ext uri="{FF2B5EF4-FFF2-40B4-BE49-F238E27FC236}">
                <a16:creationId xmlns:a16="http://schemas.microsoft.com/office/drawing/2014/main" id="{37918847-99C8-60E5-FCA3-DBC5AFAF0D09}"/>
              </a:ext>
            </a:extLst>
          </p:cNvPr>
          <p:cNvSpPr/>
          <p:nvPr/>
        </p:nvSpPr>
        <p:spPr>
          <a:xfrm>
            <a:off x="10981994" y="3725089"/>
            <a:ext cx="1132513" cy="1107922"/>
          </a:xfrm>
          <a:prstGeom prst="ellipse">
            <a:avLst/>
          </a:prstGeom>
          <a:solidFill>
            <a:schemeClr val="accent5">
              <a:lumMod val="20000"/>
              <a:lumOff val="80000"/>
              <a:alpha val="5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Ellipse 72">
            <a:extLst>
              <a:ext uri="{FF2B5EF4-FFF2-40B4-BE49-F238E27FC236}">
                <a16:creationId xmlns:a16="http://schemas.microsoft.com/office/drawing/2014/main" id="{70280BDF-B602-AE1E-68F8-777D5726ED9C}"/>
              </a:ext>
            </a:extLst>
          </p:cNvPr>
          <p:cNvSpPr/>
          <p:nvPr/>
        </p:nvSpPr>
        <p:spPr>
          <a:xfrm>
            <a:off x="8917589" y="3804499"/>
            <a:ext cx="1132513" cy="1107922"/>
          </a:xfrm>
          <a:prstGeom prst="ellipse">
            <a:avLst/>
          </a:prstGeom>
          <a:solidFill>
            <a:schemeClr val="accent5">
              <a:lumMod val="20000"/>
              <a:lumOff val="80000"/>
              <a:alpha val="5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Ellipse 73">
            <a:extLst>
              <a:ext uri="{FF2B5EF4-FFF2-40B4-BE49-F238E27FC236}">
                <a16:creationId xmlns:a16="http://schemas.microsoft.com/office/drawing/2014/main" id="{3F0E7D64-BF74-8E73-F200-B495824DCC8E}"/>
              </a:ext>
            </a:extLst>
          </p:cNvPr>
          <p:cNvSpPr/>
          <p:nvPr/>
        </p:nvSpPr>
        <p:spPr>
          <a:xfrm>
            <a:off x="8925419" y="1912672"/>
            <a:ext cx="1132513" cy="1107922"/>
          </a:xfrm>
          <a:prstGeom prst="ellipse">
            <a:avLst/>
          </a:prstGeom>
          <a:solidFill>
            <a:schemeClr val="accent5">
              <a:lumMod val="20000"/>
              <a:lumOff val="80000"/>
              <a:alpha val="5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Ellipse 74">
            <a:extLst>
              <a:ext uri="{FF2B5EF4-FFF2-40B4-BE49-F238E27FC236}">
                <a16:creationId xmlns:a16="http://schemas.microsoft.com/office/drawing/2014/main" id="{C98FE801-F684-584F-5116-2ADD3059DED1}"/>
              </a:ext>
            </a:extLst>
          </p:cNvPr>
          <p:cNvSpPr/>
          <p:nvPr/>
        </p:nvSpPr>
        <p:spPr>
          <a:xfrm>
            <a:off x="6251767" y="2948790"/>
            <a:ext cx="1132513" cy="1107922"/>
          </a:xfrm>
          <a:prstGeom prst="ellipse">
            <a:avLst/>
          </a:prstGeom>
          <a:solidFill>
            <a:schemeClr val="accent5">
              <a:lumMod val="20000"/>
              <a:lumOff val="80000"/>
              <a:alpha val="5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Ellipse 75">
            <a:extLst>
              <a:ext uri="{FF2B5EF4-FFF2-40B4-BE49-F238E27FC236}">
                <a16:creationId xmlns:a16="http://schemas.microsoft.com/office/drawing/2014/main" id="{3E45FD6E-AB7C-FC64-6ABB-9475BB916F40}"/>
              </a:ext>
            </a:extLst>
          </p:cNvPr>
          <p:cNvSpPr/>
          <p:nvPr/>
        </p:nvSpPr>
        <p:spPr>
          <a:xfrm>
            <a:off x="4306729" y="3909208"/>
            <a:ext cx="1132513" cy="1107922"/>
          </a:xfrm>
          <a:prstGeom prst="ellipse">
            <a:avLst/>
          </a:prstGeom>
          <a:solidFill>
            <a:schemeClr val="accent5">
              <a:lumMod val="20000"/>
              <a:lumOff val="80000"/>
              <a:alpha val="5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Ellipse 76">
            <a:extLst>
              <a:ext uri="{FF2B5EF4-FFF2-40B4-BE49-F238E27FC236}">
                <a16:creationId xmlns:a16="http://schemas.microsoft.com/office/drawing/2014/main" id="{2010D0B5-F02E-EAC5-D618-EE743F9FF677}"/>
              </a:ext>
            </a:extLst>
          </p:cNvPr>
          <p:cNvSpPr/>
          <p:nvPr/>
        </p:nvSpPr>
        <p:spPr>
          <a:xfrm>
            <a:off x="2298092" y="3896604"/>
            <a:ext cx="1132513" cy="1107922"/>
          </a:xfrm>
          <a:prstGeom prst="ellipse">
            <a:avLst/>
          </a:prstGeom>
          <a:solidFill>
            <a:schemeClr val="accent5">
              <a:lumMod val="20000"/>
              <a:lumOff val="80000"/>
              <a:alpha val="5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Organigramme : Terminateur 77">
            <a:extLst>
              <a:ext uri="{FF2B5EF4-FFF2-40B4-BE49-F238E27FC236}">
                <a16:creationId xmlns:a16="http://schemas.microsoft.com/office/drawing/2014/main" id="{2D8BABD1-341D-ED49-D1CC-4A94285C7C7C}"/>
              </a:ext>
            </a:extLst>
          </p:cNvPr>
          <p:cNvSpPr/>
          <p:nvPr/>
        </p:nvSpPr>
        <p:spPr>
          <a:xfrm>
            <a:off x="2278131" y="4629566"/>
            <a:ext cx="1132513" cy="243281"/>
          </a:xfrm>
          <a:prstGeom prst="flowChartTerminator">
            <a:avLst/>
          </a:prstGeom>
          <a:gradFill flip="none" rotWithShape="1">
            <a:gsLst>
              <a:gs pos="0">
                <a:srgbClr val="00B0F0"/>
              </a:gs>
              <a:gs pos="100000">
                <a:schemeClr val="accent5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Rounded Medium" panose="02000000000000000000" pitchFamily="50" charset="0"/>
                <a:ea typeface="+mn-ea"/>
                <a:cs typeface="+mn-cs"/>
              </a:rPr>
              <a:t>Energy supplier</a:t>
            </a:r>
          </a:p>
        </p:txBody>
      </p:sp>
      <p:sp>
        <p:nvSpPr>
          <p:cNvPr id="17" name="Organigramme : Terminateur 78">
            <a:extLst>
              <a:ext uri="{FF2B5EF4-FFF2-40B4-BE49-F238E27FC236}">
                <a16:creationId xmlns:a16="http://schemas.microsoft.com/office/drawing/2014/main" id="{2871348D-A5C7-C5B4-9FFA-EDC953F382E3}"/>
              </a:ext>
            </a:extLst>
          </p:cNvPr>
          <p:cNvSpPr/>
          <p:nvPr/>
        </p:nvSpPr>
        <p:spPr>
          <a:xfrm>
            <a:off x="4313957" y="4657723"/>
            <a:ext cx="1132513" cy="226503"/>
          </a:xfrm>
          <a:prstGeom prst="flowChartTerminator">
            <a:avLst/>
          </a:prstGeom>
          <a:gradFill flip="none" rotWithShape="1">
            <a:gsLst>
              <a:gs pos="0">
                <a:srgbClr val="00B0F0"/>
              </a:gs>
              <a:gs pos="100000">
                <a:schemeClr val="accent5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Rounded Medium" panose="02000000000000000000" pitchFamily="50" charset="0"/>
                <a:ea typeface="+mn-ea"/>
                <a:cs typeface="+mn-cs"/>
              </a:rPr>
              <a:t>Charging point</a:t>
            </a:r>
          </a:p>
        </p:txBody>
      </p:sp>
      <p:sp>
        <p:nvSpPr>
          <p:cNvPr id="18" name="Organigramme : Terminateur 79">
            <a:extLst>
              <a:ext uri="{FF2B5EF4-FFF2-40B4-BE49-F238E27FC236}">
                <a16:creationId xmlns:a16="http://schemas.microsoft.com/office/drawing/2014/main" id="{256A6B64-B647-8AA1-CAD5-EAF41B71413D}"/>
              </a:ext>
            </a:extLst>
          </p:cNvPr>
          <p:cNvSpPr/>
          <p:nvPr/>
        </p:nvSpPr>
        <p:spPr>
          <a:xfrm>
            <a:off x="6268396" y="3727505"/>
            <a:ext cx="1132513" cy="243281"/>
          </a:xfrm>
          <a:prstGeom prst="flowChartTerminator">
            <a:avLst/>
          </a:prstGeom>
          <a:gradFill flip="none" rotWithShape="1">
            <a:gsLst>
              <a:gs pos="0">
                <a:srgbClr val="00B0F0"/>
              </a:gs>
              <a:gs pos="100000">
                <a:schemeClr val="accent5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Rounded Medium" panose="02000000000000000000" pitchFamily="50" charset="0"/>
                <a:ea typeface="+mn-ea"/>
                <a:cs typeface="+mn-cs"/>
              </a:rPr>
              <a:t>Charge Point Operator (CPO)</a:t>
            </a:r>
          </a:p>
        </p:txBody>
      </p:sp>
      <p:sp>
        <p:nvSpPr>
          <p:cNvPr id="19" name="Organigramme : Terminateur 80">
            <a:extLst>
              <a:ext uri="{FF2B5EF4-FFF2-40B4-BE49-F238E27FC236}">
                <a16:creationId xmlns:a16="http://schemas.microsoft.com/office/drawing/2014/main" id="{30D3F3AB-9D6C-A82D-B7A7-9757BC152BDB}"/>
              </a:ext>
            </a:extLst>
          </p:cNvPr>
          <p:cNvSpPr/>
          <p:nvPr/>
        </p:nvSpPr>
        <p:spPr>
          <a:xfrm>
            <a:off x="6298717" y="5903281"/>
            <a:ext cx="1132513" cy="238725"/>
          </a:xfrm>
          <a:prstGeom prst="flowChartTerminator">
            <a:avLst/>
          </a:prstGeom>
          <a:gradFill flip="none" rotWithShape="1">
            <a:gsLst>
              <a:gs pos="0">
                <a:srgbClr val="00B0F0"/>
              </a:gs>
              <a:gs pos="100000">
                <a:schemeClr val="accent5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Rounded Medium" panose="02000000000000000000" pitchFamily="50" charset="0"/>
                <a:ea typeface="+mn-ea"/>
                <a:cs typeface="+mn-cs"/>
              </a:rPr>
              <a:t>Plateforme de Roaming</a:t>
            </a:r>
          </a:p>
        </p:txBody>
      </p:sp>
      <p:sp>
        <p:nvSpPr>
          <p:cNvPr id="20" name="Organigramme : Terminateur 81">
            <a:extLst>
              <a:ext uri="{FF2B5EF4-FFF2-40B4-BE49-F238E27FC236}">
                <a16:creationId xmlns:a16="http://schemas.microsoft.com/office/drawing/2014/main" id="{596F6D63-2692-04DF-CAC2-3873E36BD8CC}"/>
              </a:ext>
            </a:extLst>
          </p:cNvPr>
          <p:cNvSpPr/>
          <p:nvPr/>
        </p:nvSpPr>
        <p:spPr>
          <a:xfrm>
            <a:off x="8904276" y="2685442"/>
            <a:ext cx="1132513" cy="206929"/>
          </a:xfrm>
          <a:prstGeom prst="flowChartTerminator">
            <a:avLst/>
          </a:prstGeom>
          <a:gradFill flip="none" rotWithShape="1">
            <a:gsLst>
              <a:gs pos="0">
                <a:srgbClr val="00B0F0"/>
              </a:gs>
              <a:gs pos="100000">
                <a:schemeClr val="accent5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Rounded Medium" panose="02000000000000000000" pitchFamily="50" charset="0"/>
                <a:ea typeface="+mn-ea"/>
                <a:cs typeface="+mn-cs"/>
              </a:rPr>
              <a:t>Prestataire MSP</a:t>
            </a:r>
          </a:p>
        </p:txBody>
      </p:sp>
      <p:sp>
        <p:nvSpPr>
          <p:cNvPr id="21" name="Organigramme : Terminateur 82">
            <a:extLst>
              <a:ext uri="{FF2B5EF4-FFF2-40B4-BE49-F238E27FC236}">
                <a16:creationId xmlns:a16="http://schemas.microsoft.com/office/drawing/2014/main" id="{D447AB55-40BE-75E4-3D73-6DEE956F34A3}"/>
              </a:ext>
            </a:extLst>
          </p:cNvPr>
          <p:cNvSpPr/>
          <p:nvPr/>
        </p:nvSpPr>
        <p:spPr>
          <a:xfrm>
            <a:off x="8925419" y="4592240"/>
            <a:ext cx="1132513" cy="240771"/>
          </a:xfrm>
          <a:prstGeom prst="flowChartTerminator">
            <a:avLst/>
          </a:prstGeom>
          <a:gradFill flip="none" rotWithShape="1">
            <a:gsLst>
              <a:gs pos="0">
                <a:srgbClr val="00B0F0"/>
              </a:gs>
              <a:gs pos="100000">
                <a:schemeClr val="accent5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Rounded Medium" panose="02000000000000000000" pitchFamily="50" charset="0"/>
                <a:ea typeface="+mn-ea"/>
                <a:cs typeface="+mn-cs"/>
              </a:rPr>
              <a:t>Mobility Service Provider (MSP)</a:t>
            </a:r>
          </a:p>
        </p:txBody>
      </p:sp>
      <p:sp>
        <p:nvSpPr>
          <p:cNvPr id="22" name="Organigramme : Terminateur 83">
            <a:extLst>
              <a:ext uri="{FF2B5EF4-FFF2-40B4-BE49-F238E27FC236}">
                <a16:creationId xmlns:a16="http://schemas.microsoft.com/office/drawing/2014/main" id="{E42514AF-72BC-040C-A027-C64C7349CFF3}"/>
              </a:ext>
            </a:extLst>
          </p:cNvPr>
          <p:cNvSpPr/>
          <p:nvPr/>
        </p:nvSpPr>
        <p:spPr>
          <a:xfrm>
            <a:off x="10957509" y="4572646"/>
            <a:ext cx="1132513" cy="206929"/>
          </a:xfrm>
          <a:prstGeom prst="flowChartTerminator">
            <a:avLst/>
          </a:prstGeom>
          <a:gradFill flip="none" rotWithShape="1">
            <a:gsLst>
              <a:gs pos="0">
                <a:srgbClr val="00B0F0"/>
              </a:gs>
              <a:gs pos="100000">
                <a:schemeClr val="accent5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Rounded Medium" panose="02000000000000000000" pitchFamily="50" charset="0"/>
                <a:ea typeface="+mn-ea"/>
                <a:cs typeface="+mn-cs"/>
              </a:rPr>
              <a:t>EV driver</a:t>
            </a:r>
          </a:p>
        </p:txBody>
      </p:sp>
      <p:pic>
        <p:nvPicPr>
          <p:cNvPr id="23" name="Picture 2">
            <a:extLst>
              <a:ext uri="{FF2B5EF4-FFF2-40B4-BE49-F238E27FC236}">
                <a16:creationId xmlns:a16="http://schemas.microsoft.com/office/drawing/2014/main" id="{E5885FE6-0858-C263-E557-06C4B06AE4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5501" y="3970786"/>
            <a:ext cx="633157" cy="6331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Image 85">
            <a:extLst>
              <a:ext uri="{FF2B5EF4-FFF2-40B4-BE49-F238E27FC236}">
                <a16:creationId xmlns:a16="http://schemas.microsoft.com/office/drawing/2014/main" id="{41D6F043-B8C6-ACE5-9E78-9B5A049AF57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8837" y="4128557"/>
            <a:ext cx="147491" cy="480949"/>
          </a:xfrm>
          <a:prstGeom prst="rect">
            <a:avLst/>
          </a:prstGeom>
        </p:spPr>
      </p:pic>
      <p:pic>
        <p:nvPicPr>
          <p:cNvPr id="25" name="Picture 6">
            <a:extLst>
              <a:ext uri="{FF2B5EF4-FFF2-40B4-BE49-F238E27FC236}">
                <a16:creationId xmlns:a16="http://schemas.microsoft.com/office/drawing/2014/main" id="{80B533A5-4E97-C671-F4B4-0678D1BB27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3080" y="2240633"/>
            <a:ext cx="401448" cy="4014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6" name="Connecteur droit 87">
            <a:extLst>
              <a:ext uri="{FF2B5EF4-FFF2-40B4-BE49-F238E27FC236}">
                <a16:creationId xmlns:a16="http://schemas.microsoft.com/office/drawing/2014/main" id="{5547B5AF-1FD8-E980-0B9D-F689F8629929}"/>
              </a:ext>
            </a:extLst>
          </p:cNvPr>
          <p:cNvCxnSpPr>
            <a:cxnSpLocks/>
          </p:cNvCxnSpPr>
          <p:nvPr/>
        </p:nvCxnSpPr>
        <p:spPr>
          <a:xfrm>
            <a:off x="3560005" y="4770974"/>
            <a:ext cx="615059" cy="0"/>
          </a:xfrm>
          <a:prstGeom prst="line">
            <a:avLst/>
          </a:prstGeom>
          <a:ln>
            <a:gradFill>
              <a:gsLst>
                <a:gs pos="1000">
                  <a:srgbClr val="00B0F0"/>
                </a:gs>
                <a:gs pos="100000">
                  <a:schemeClr val="accent5"/>
                </a:gs>
              </a:gsLst>
              <a:lin ang="5400000" scaled="1"/>
            </a:gra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eur droit 88">
            <a:extLst>
              <a:ext uri="{FF2B5EF4-FFF2-40B4-BE49-F238E27FC236}">
                <a16:creationId xmlns:a16="http://schemas.microsoft.com/office/drawing/2014/main" id="{C66490AE-D6DB-4AA6-FBEE-F4BFD853F696}"/>
              </a:ext>
            </a:extLst>
          </p:cNvPr>
          <p:cNvCxnSpPr>
            <a:cxnSpLocks/>
          </p:cNvCxnSpPr>
          <p:nvPr/>
        </p:nvCxnSpPr>
        <p:spPr>
          <a:xfrm flipV="1">
            <a:off x="5539806" y="3995623"/>
            <a:ext cx="615059" cy="650721"/>
          </a:xfrm>
          <a:prstGeom prst="line">
            <a:avLst/>
          </a:prstGeom>
          <a:ln>
            <a:gradFill>
              <a:gsLst>
                <a:gs pos="1000">
                  <a:srgbClr val="00B0F0"/>
                </a:gs>
                <a:gs pos="100000">
                  <a:schemeClr val="accent5"/>
                </a:gs>
              </a:gsLst>
              <a:lin ang="5400000" scaled="1"/>
            </a:gra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cteur droit 89">
            <a:extLst>
              <a:ext uri="{FF2B5EF4-FFF2-40B4-BE49-F238E27FC236}">
                <a16:creationId xmlns:a16="http://schemas.microsoft.com/office/drawing/2014/main" id="{EB9601F4-4AB5-4375-A18E-BABBE8DF1A37}"/>
              </a:ext>
            </a:extLst>
          </p:cNvPr>
          <p:cNvCxnSpPr>
            <a:cxnSpLocks/>
          </p:cNvCxnSpPr>
          <p:nvPr/>
        </p:nvCxnSpPr>
        <p:spPr>
          <a:xfrm>
            <a:off x="6823624" y="4225797"/>
            <a:ext cx="0" cy="776491"/>
          </a:xfrm>
          <a:prstGeom prst="line">
            <a:avLst/>
          </a:prstGeom>
          <a:ln>
            <a:gradFill>
              <a:gsLst>
                <a:gs pos="1000">
                  <a:srgbClr val="00B0F0"/>
                </a:gs>
                <a:gs pos="100000">
                  <a:schemeClr val="accent5"/>
                </a:gs>
              </a:gsLst>
              <a:lin ang="5400000" scaled="1"/>
            </a:gra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Picture 8">
            <a:extLst>
              <a:ext uri="{FF2B5EF4-FFF2-40B4-BE49-F238E27FC236}">
                <a16:creationId xmlns:a16="http://schemas.microsoft.com/office/drawing/2014/main" id="{E63AFE32-616C-AC9C-D747-36834062F6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7753" y="5377347"/>
            <a:ext cx="404022" cy="40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10">
            <a:extLst>
              <a:ext uri="{FF2B5EF4-FFF2-40B4-BE49-F238E27FC236}">
                <a16:creationId xmlns:a16="http://schemas.microsoft.com/office/drawing/2014/main" id="{20D9DD97-26FD-3922-9B60-09EC9DAC0C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26371" y="3987642"/>
            <a:ext cx="532700" cy="532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1" name="Connecteur droit 92">
            <a:extLst>
              <a:ext uri="{FF2B5EF4-FFF2-40B4-BE49-F238E27FC236}">
                <a16:creationId xmlns:a16="http://schemas.microsoft.com/office/drawing/2014/main" id="{1F5B9801-2CAC-2038-1101-B04B88B29A0B}"/>
              </a:ext>
            </a:extLst>
          </p:cNvPr>
          <p:cNvCxnSpPr>
            <a:cxnSpLocks/>
          </p:cNvCxnSpPr>
          <p:nvPr/>
        </p:nvCxnSpPr>
        <p:spPr>
          <a:xfrm>
            <a:off x="7428261" y="4044089"/>
            <a:ext cx="637287" cy="556096"/>
          </a:xfrm>
          <a:prstGeom prst="line">
            <a:avLst/>
          </a:prstGeom>
          <a:ln>
            <a:gradFill>
              <a:gsLst>
                <a:gs pos="1000">
                  <a:srgbClr val="00B0F0"/>
                </a:gs>
                <a:gs pos="100000">
                  <a:schemeClr val="accent5"/>
                </a:gs>
              </a:gsLst>
              <a:lin ang="5400000" scaled="1"/>
            </a:gra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necteur droit 93">
            <a:extLst>
              <a:ext uri="{FF2B5EF4-FFF2-40B4-BE49-F238E27FC236}">
                <a16:creationId xmlns:a16="http://schemas.microsoft.com/office/drawing/2014/main" id="{F13C487E-194F-1EEA-91A6-24D71C7B4856}"/>
              </a:ext>
            </a:extLst>
          </p:cNvPr>
          <p:cNvCxnSpPr>
            <a:cxnSpLocks/>
          </p:cNvCxnSpPr>
          <p:nvPr/>
        </p:nvCxnSpPr>
        <p:spPr>
          <a:xfrm flipV="1">
            <a:off x="7460189" y="4861723"/>
            <a:ext cx="613829" cy="539755"/>
          </a:xfrm>
          <a:prstGeom prst="line">
            <a:avLst/>
          </a:prstGeom>
          <a:ln>
            <a:gradFill>
              <a:gsLst>
                <a:gs pos="1000">
                  <a:srgbClr val="00B0F0"/>
                </a:gs>
                <a:gs pos="100000">
                  <a:schemeClr val="accent5"/>
                </a:gs>
              </a:gsLst>
              <a:lin ang="5400000" scaled="1"/>
            </a:gra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necteur droit 94">
            <a:extLst>
              <a:ext uri="{FF2B5EF4-FFF2-40B4-BE49-F238E27FC236}">
                <a16:creationId xmlns:a16="http://schemas.microsoft.com/office/drawing/2014/main" id="{EC162A38-1939-C2DB-5A0F-01259118338C}"/>
              </a:ext>
            </a:extLst>
          </p:cNvPr>
          <p:cNvCxnSpPr>
            <a:cxnSpLocks/>
          </p:cNvCxnSpPr>
          <p:nvPr/>
        </p:nvCxnSpPr>
        <p:spPr>
          <a:xfrm>
            <a:off x="8186749" y="4720756"/>
            <a:ext cx="615059" cy="0"/>
          </a:xfrm>
          <a:prstGeom prst="line">
            <a:avLst/>
          </a:prstGeom>
          <a:ln>
            <a:gradFill>
              <a:gsLst>
                <a:gs pos="1000">
                  <a:srgbClr val="00B0F0"/>
                </a:gs>
                <a:gs pos="100000">
                  <a:schemeClr val="accent5"/>
                </a:gs>
              </a:gsLst>
              <a:lin ang="5400000" scaled="1"/>
            </a:gra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necteur droit 95">
            <a:extLst>
              <a:ext uri="{FF2B5EF4-FFF2-40B4-BE49-F238E27FC236}">
                <a16:creationId xmlns:a16="http://schemas.microsoft.com/office/drawing/2014/main" id="{54AAC60B-9023-66FF-F36A-1F8485175F59}"/>
              </a:ext>
            </a:extLst>
          </p:cNvPr>
          <p:cNvCxnSpPr>
            <a:cxnSpLocks/>
          </p:cNvCxnSpPr>
          <p:nvPr/>
        </p:nvCxnSpPr>
        <p:spPr>
          <a:xfrm>
            <a:off x="10177474" y="4695704"/>
            <a:ext cx="615059" cy="0"/>
          </a:xfrm>
          <a:prstGeom prst="line">
            <a:avLst/>
          </a:prstGeom>
          <a:ln>
            <a:gradFill>
              <a:gsLst>
                <a:gs pos="1000">
                  <a:srgbClr val="00B0F0"/>
                </a:gs>
                <a:gs pos="100000">
                  <a:schemeClr val="accent5"/>
                </a:gs>
              </a:gsLst>
              <a:lin ang="5400000" scaled="1"/>
            </a:gra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Image 96">
            <a:extLst>
              <a:ext uri="{FF2B5EF4-FFF2-40B4-BE49-F238E27FC236}">
                <a16:creationId xmlns:a16="http://schemas.microsoft.com/office/drawing/2014/main" id="{503B1CA5-B255-D699-0C7D-9A9FFDD6D9D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0309" y="4063502"/>
            <a:ext cx="147491" cy="480949"/>
          </a:xfrm>
          <a:prstGeom prst="rect">
            <a:avLst/>
          </a:prstGeom>
        </p:spPr>
      </p:pic>
      <p:pic>
        <p:nvPicPr>
          <p:cNvPr id="36" name="Image 97">
            <a:extLst>
              <a:ext uri="{FF2B5EF4-FFF2-40B4-BE49-F238E27FC236}">
                <a16:creationId xmlns:a16="http://schemas.microsoft.com/office/drawing/2014/main" id="{CDFE5227-41A4-EF95-B0F6-0FB0E1A748A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5339" y="4063502"/>
            <a:ext cx="147491" cy="480949"/>
          </a:xfrm>
          <a:prstGeom prst="rect">
            <a:avLst/>
          </a:prstGeom>
        </p:spPr>
      </p:pic>
      <p:pic>
        <p:nvPicPr>
          <p:cNvPr id="37" name="Image 98">
            <a:extLst>
              <a:ext uri="{FF2B5EF4-FFF2-40B4-BE49-F238E27FC236}">
                <a16:creationId xmlns:a16="http://schemas.microsoft.com/office/drawing/2014/main" id="{2E53D963-BFBE-3AFA-D52C-20BB879597E5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clrChange>
              <a:clrFrom>
                <a:srgbClr val="D5F5F5"/>
              </a:clrFrom>
              <a:clrTo>
                <a:srgbClr val="D5F5F5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14" t="10470" r="9708" b="17543"/>
          <a:stretch/>
        </p:blipFill>
        <p:spPr>
          <a:xfrm>
            <a:off x="8991184" y="4024037"/>
            <a:ext cx="554673" cy="510025"/>
          </a:xfrm>
          <a:prstGeom prst="rect">
            <a:avLst/>
          </a:prstGeom>
        </p:spPr>
      </p:pic>
      <p:pic>
        <p:nvPicPr>
          <p:cNvPr id="38" name="Image 99">
            <a:extLst>
              <a:ext uri="{FF2B5EF4-FFF2-40B4-BE49-F238E27FC236}">
                <a16:creationId xmlns:a16="http://schemas.microsoft.com/office/drawing/2014/main" id="{42B288C6-A1F2-EDD1-BC15-8019D6F3014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1052" y="972957"/>
            <a:ext cx="753941" cy="508910"/>
          </a:xfrm>
          <a:prstGeom prst="rect">
            <a:avLst/>
          </a:prstGeom>
        </p:spPr>
      </p:pic>
      <p:pic>
        <p:nvPicPr>
          <p:cNvPr id="39" name="Image 100">
            <a:extLst>
              <a:ext uri="{FF2B5EF4-FFF2-40B4-BE49-F238E27FC236}">
                <a16:creationId xmlns:a16="http://schemas.microsoft.com/office/drawing/2014/main" id="{E377CB23-9D19-95C0-DB68-D4D5DD1442F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95208" y="4044029"/>
            <a:ext cx="626363" cy="338037"/>
          </a:xfrm>
          <a:prstGeom prst="rect">
            <a:avLst/>
          </a:prstGeom>
        </p:spPr>
      </p:pic>
      <p:pic>
        <p:nvPicPr>
          <p:cNvPr id="40" name="Image 101">
            <a:extLst>
              <a:ext uri="{FF2B5EF4-FFF2-40B4-BE49-F238E27FC236}">
                <a16:creationId xmlns:a16="http://schemas.microsoft.com/office/drawing/2014/main" id="{ABE8A3B1-DDB0-4027-37BC-108FCBA43018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7922" y="4076145"/>
            <a:ext cx="297286" cy="297286"/>
          </a:xfrm>
          <a:prstGeom prst="rect">
            <a:avLst/>
          </a:prstGeom>
        </p:spPr>
      </p:pic>
      <p:pic>
        <p:nvPicPr>
          <p:cNvPr id="41" name="Image 102">
            <a:extLst>
              <a:ext uri="{FF2B5EF4-FFF2-40B4-BE49-F238E27FC236}">
                <a16:creationId xmlns:a16="http://schemas.microsoft.com/office/drawing/2014/main" id="{8DBEFAFC-9FB9-8A05-37A0-11BDDAA245F6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9188" y="5285853"/>
            <a:ext cx="379661" cy="256271"/>
          </a:xfrm>
          <a:prstGeom prst="rect">
            <a:avLst/>
          </a:prstGeom>
        </p:spPr>
      </p:pic>
      <p:pic>
        <p:nvPicPr>
          <p:cNvPr id="42" name="Image 103">
            <a:extLst>
              <a:ext uri="{FF2B5EF4-FFF2-40B4-BE49-F238E27FC236}">
                <a16:creationId xmlns:a16="http://schemas.microsoft.com/office/drawing/2014/main" id="{6AFA9A9C-68F2-324C-F299-66F6556552CD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3780" y="5606780"/>
            <a:ext cx="379661" cy="256271"/>
          </a:xfrm>
          <a:prstGeom prst="rect">
            <a:avLst/>
          </a:prstGeom>
        </p:spPr>
      </p:pic>
      <p:cxnSp>
        <p:nvCxnSpPr>
          <p:cNvPr id="43" name="Connecteur droit 104">
            <a:extLst>
              <a:ext uri="{FF2B5EF4-FFF2-40B4-BE49-F238E27FC236}">
                <a16:creationId xmlns:a16="http://schemas.microsoft.com/office/drawing/2014/main" id="{88D7FD0E-D15B-0EE0-13C8-AC83B9BF7D99}"/>
              </a:ext>
            </a:extLst>
          </p:cNvPr>
          <p:cNvCxnSpPr>
            <a:cxnSpLocks/>
          </p:cNvCxnSpPr>
          <p:nvPr/>
        </p:nvCxnSpPr>
        <p:spPr>
          <a:xfrm>
            <a:off x="6818023" y="1994587"/>
            <a:ext cx="0" cy="776491"/>
          </a:xfrm>
          <a:prstGeom prst="line">
            <a:avLst/>
          </a:prstGeom>
          <a:ln>
            <a:gradFill>
              <a:gsLst>
                <a:gs pos="1000">
                  <a:srgbClr val="00B0F0"/>
                </a:gs>
                <a:gs pos="100000">
                  <a:schemeClr val="accent5"/>
                </a:gs>
              </a:gsLst>
              <a:lin ang="5400000" scaled="1"/>
            </a:gra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Organigramme : Terminateur 105">
            <a:extLst>
              <a:ext uri="{FF2B5EF4-FFF2-40B4-BE49-F238E27FC236}">
                <a16:creationId xmlns:a16="http://schemas.microsoft.com/office/drawing/2014/main" id="{D17225C2-35BA-E027-2487-6A4CC02BD265}"/>
              </a:ext>
            </a:extLst>
          </p:cNvPr>
          <p:cNvSpPr/>
          <p:nvPr/>
        </p:nvSpPr>
        <p:spPr>
          <a:xfrm>
            <a:off x="6268396" y="1567793"/>
            <a:ext cx="1132513" cy="243281"/>
          </a:xfrm>
          <a:prstGeom prst="flowChartTerminator">
            <a:avLst/>
          </a:prstGeom>
          <a:gradFill flip="none" rotWithShape="1">
            <a:gsLst>
              <a:gs pos="0">
                <a:srgbClr val="00B0F0"/>
              </a:gs>
              <a:gs pos="100000">
                <a:schemeClr val="accent5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Rounded Medium" panose="02000000000000000000" pitchFamily="50" charset="0"/>
                <a:ea typeface="+mn-ea"/>
                <a:cs typeface="+mn-cs"/>
              </a:rPr>
              <a:t>Prestataire CPO</a:t>
            </a:r>
          </a:p>
        </p:txBody>
      </p:sp>
      <p:pic>
        <p:nvPicPr>
          <p:cNvPr id="45" name="Image 106">
            <a:extLst>
              <a:ext uri="{FF2B5EF4-FFF2-40B4-BE49-F238E27FC236}">
                <a16:creationId xmlns:a16="http://schemas.microsoft.com/office/drawing/2014/main" id="{308EFCC9-04D8-5DF4-812F-F8997EA89F2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1052" y="3169174"/>
            <a:ext cx="147491" cy="480949"/>
          </a:xfrm>
          <a:prstGeom prst="rect">
            <a:avLst/>
          </a:prstGeom>
        </p:spPr>
      </p:pic>
      <p:pic>
        <p:nvPicPr>
          <p:cNvPr id="46" name="Picture 10">
            <a:extLst>
              <a:ext uri="{FF2B5EF4-FFF2-40B4-BE49-F238E27FC236}">
                <a16:creationId xmlns:a16="http://schemas.microsoft.com/office/drawing/2014/main" id="{1D6945F9-CB69-A33A-7B4A-6B289303D9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3404" y="3160510"/>
            <a:ext cx="4572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7" name="Connecteur droit 108">
            <a:extLst>
              <a:ext uri="{FF2B5EF4-FFF2-40B4-BE49-F238E27FC236}">
                <a16:creationId xmlns:a16="http://schemas.microsoft.com/office/drawing/2014/main" id="{AE35F5E5-14D2-A556-04B8-1217F3F8EF93}"/>
              </a:ext>
            </a:extLst>
          </p:cNvPr>
          <p:cNvCxnSpPr>
            <a:cxnSpLocks/>
          </p:cNvCxnSpPr>
          <p:nvPr/>
        </p:nvCxnSpPr>
        <p:spPr>
          <a:xfrm>
            <a:off x="9485704" y="3085116"/>
            <a:ext cx="5971" cy="627811"/>
          </a:xfrm>
          <a:prstGeom prst="line">
            <a:avLst/>
          </a:prstGeom>
          <a:ln>
            <a:gradFill>
              <a:gsLst>
                <a:gs pos="1000">
                  <a:srgbClr val="00B0F0"/>
                </a:gs>
                <a:gs pos="100000">
                  <a:schemeClr val="accent5"/>
                </a:gs>
              </a:gsLst>
              <a:lin ang="5400000" scaled="1"/>
            </a:gra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8" name="Picture 4">
            <a:extLst>
              <a:ext uri="{FF2B5EF4-FFF2-40B4-BE49-F238E27FC236}">
                <a16:creationId xmlns:a16="http://schemas.microsoft.com/office/drawing/2014/main" id="{AE3F1A84-7F75-BB3A-C5FD-A78538A5EC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96335" y="5734915"/>
            <a:ext cx="673212" cy="4715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Image 110">
            <a:extLst>
              <a:ext uri="{FF2B5EF4-FFF2-40B4-BE49-F238E27FC236}">
                <a16:creationId xmlns:a16="http://schemas.microsoft.com/office/drawing/2014/main" id="{403842F0-FADD-F9D1-ED5A-05BE0B6B9F8B}"/>
              </a:ext>
            </a:extLst>
          </p:cNvPr>
          <p:cNvPicPr>
            <a:picLocks noChangeAspect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86047" y="5775552"/>
            <a:ext cx="597800" cy="37687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50" name="Groupe 111">
            <a:extLst>
              <a:ext uri="{FF2B5EF4-FFF2-40B4-BE49-F238E27FC236}">
                <a16:creationId xmlns:a16="http://schemas.microsoft.com/office/drawing/2014/main" id="{06217682-C55E-C6C9-4D28-DDC34E6D06AB}"/>
              </a:ext>
            </a:extLst>
          </p:cNvPr>
          <p:cNvGrpSpPr/>
          <p:nvPr/>
        </p:nvGrpSpPr>
        <p:grpSpPr>
          <a:xfrm>
            <a:off x="7438306" y="3092062"/>
            <a:ext cx="931892" cy="891206"/>
            <a:chOff x="7621946" y="1948466"/>
            <a:chExt cx="1038309" cy="996298"/>
          </a:xfrm>
        </p:grpSpPr>
        <p:sp>
          <p:nvSpPr>
            <p:cNvPr id="51" name="ZoneTexte 112">
              <a:extLst>
                <a:ext uri="{FF2B5EF4-FFF2-40B4-BE49-F238E27FC236}">
                  <a16:creationId xmlns:a16="http://schemas.microsoft.com/office/drawing/2014/main" id="{6D576133-1D18-A3B5-51FB-25671FAC4F95}"/>
                </a:ext>
              </a:extLst>
            </p:cNvPr>
            <p:cNvSpPr txBox="1"/>
            <p:nvPr/>
          </p:nvSpPr>
          <p:spPr>
            <a:xfrm>
              <a:off x="7913278" y="2703915"/>
              <a:ext cx="527244" cy="2408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fr-FR" sz="800" b="1">
                  <a:solidFill>
                    <a:schemeClr val="tx2"/>
                  </a:solidFill>
                  <a:latin typeface="Gotham Rounded Book" pitchFamily="50" charset="0"/>
                </a:rPr>
                <a:t>TECS</a:t>
              </a:r>
            </a:p>
          </p:txBody>
        </p:sp>
        <p:pic>
          <p:nvPicPr>
            <p:cNvPr id="52" name="Image 113">
              <a:extLst>
                <a:ext uri="{FF2B5EF4-FFF2-40B4-BE49-F238E27FC236}">
                  <a16:creationId xmlns:a16="http://schemas.microsoft.com/office/drawing/2014/main" id="{D552A775-7CE7-D4F6-CAF3-7F67C3C39ACF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21946" y="1948466"/>
              <a:ext cx="1038309" cy="820989"/>
            </a:xfrm>
            <a:prstGeom prst="rect">
              <a:avLst/>
            </a:prstGeom>
            <a:ln>
              <a:noFill/>
            </a:ln>
          </p:spPr>
        </p:pic>
      </p:grpSp>
      <p:grpSp>
        <p:nvGrpSpPr>
          <p:cNvPr id="53" name="Groupe 114">
            <a:extLst>
              <a:ext uri="{FF2B5EF4-FFF2-40B4-BE49-F238E27FC236}">
                <a16:creationId xmlns:a16="http://schemas.microsoft.com/office/drawing/2014/main" id="{F614FEDC-A682-9EE7-70F4-00DC3002789B}"/>
              </a:ext>
            </a:extLst>
          </p:cNvPr>
          <p:cNvGrpSpPr/>
          <p:nvPr/>
        </p:nvGrpSpPr>
        <p:grpSpPr>
          <a:xfrm>
            <a:off x="2278131" y="2652704"/>
            <a:ext cx="1226618" cy="1091874"/>
            <a:chOff x="833733" y="1289805"/>
            <a:chExt cx="1796771" cy="1313456"/>
          </a:xfrm>
        </p:grpSpPr>
        <p:sp>
          <p:nvSpPr>
            <p:cNvPr id="54" name="ZoneTexte 115">
              <a:extLst>
                <a:ext uri="{FF2B5EF4-FFF2-40B4-BE49-F238E27FC236}">
                  <a16:creationId xmlns:a16="http://schemas.microsoft.com/office/drawing/2014/main" id="{44DBCA01-E611-7C04-0C0B-4E6FF20D2CF5}"/>
                </a:ext>
              </a:extLst>
            </p:cNvPr>
            <p:cNvSpPr txBox="1"/>
            <p:nvPr/>
          </p:nvSpPr>
          <p:spPr>
            <a:xfrm>
              <a:off x="833733" y="2325585"/>
              <a:ext cx="1796771" cy="2776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fr-FR" sz="900" b="1">
                  <a:solidFill>
                    <a:schemeClr val="tx2"/>
                  </a:solidFill>
                  <a:latin typeface="Gotham Rounded Book" pitchFamily="50" charset="0"/>
                </a:rPr>
                <a:t>Gaz et Electricité</a:t>
              </a:r>
            </a:p>
          </p:txBody>
        </p:sp>
        <p:pic>
          <p:nvPicPr>
            <p:cNvPr id="55" name="Image 116">
              <a:extLst>
                <a:ext uri="{FF2B5EF4-FFF2-40B4-BE49-F238E27FC236}">
                  <a16:creationId xmlns:a16="http://schemas.microsoft.com/office/drawing/2014/main" id="{C32B4481-1CD3-15E3-FEA7-5F5FAAF8416A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7235" y="1289805"/>
              <a:ext cx="1352165" cy="1069155"/>
            </a:xfrm>
            <a:prstGeom prst="rect">
              <a:avLst/>
            </a:prstGeom>
            <a:ln>
              <a:noFill/>
            </a:ln>
          </p:spPr>
        </p:pic>
      </p:grpSp>
      <p:pic>
        <p:nvPicPr>
          <p:cNvPr id="56" name="Picture 2">
            <a:extLst>
              <a:ext uri="{FF2B5EF4-FFF2-40B4-BE49-F238E27FC236}">
                <a16:creationId xmlns:a16="http://schemas.microsoft.com/office/drawing/2014/main" id="{34D3EEC0-3EDF-22D6-FC3E-CA746F9D4C8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3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013590" y="1512882"/>
            <a:ext cx="913883" cy="308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Image 118">
            <a:extLst>
              <a:ext uri="{FF2B5EF4-FFF2-40B4-BE49-F238E27FC236}">
                <a16:creationId xmlns:a16="http://schemas.microsoft.com/office/drawing/2014/main" id="{01FC8298-042A-8BCD-8999-531783554D86}"/>
              </a:ext>
            </a:extLst>
          </p:cNvPr>
          <p:cNvPicPr>
            <a:picLocks noChangeAspect="1"/>
          </p:cNvPicPr>
          <p:nvPr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61899" y="827690"/>
            <a:ext cx="997171" cy="788461"/>
          </a:xfrm>
          <a:prstGeom prst="rect">
            <a:avLst/>
          </a:prstGeom>
          <a:ln>
            <a:noFill/>
          </a:ln>
        </p:spPr>
      </p:pic>
      <p:pic>
        <p:nvPicPr>
          <p:cNvPr id="58" name="Image 119">
            <a:extLst>
              <a:ext uri="{FF2B5EF4-FFF2-40B4-BE49-F238E27FC236}">
                <a16:creationId xmlns:a16="http://schemas.microsoft.com/office/drawing/2014/main" id="{40812451-63C8-88C6-1C49-FCDA11393910}"/>
              </a:ext>
            </a:extLst>
          </p:cNvPr>
          <p:cNvPicPr>
            <a:picLocks noChangeAspect="1"/>
          </p:cNvPicPr>
          <p:nvPr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11944" y="4996002"/>
            <a:ext cx="915206" cy="723652"/>
          </a:xfrm>
          <a:prstGeom prst="rect">
            <a:avLst/>
          </a:prstGeom>
          <a:ln>
            <a:noFill/>
          </a:ln>
        </p:spPr>
      </p:pic>
      <p:sp>
        <p:nvSpPr>
          <p:cNvPr id="59" name="ZoneTexte 120">
            <a:extLst>
              <a:ext uri="{FF2B5EF4-FFF2-40B4-BE49-F238E27FC236}">
                <a16:creationId xmlns:a16="http://schemas.microsoft.com/office/drawing/2014/main" id="{3D9F2695-9550-E1B7-A0D5-ABE66DB9FF88}"/>
              </a:ext>
            </a:extLst>
          </p:cNvPr>
          <p:cNvSpPr txBox="1"/>
          <p:nvPr/>
        </p:nvSpPr>
        <p:spPr>
          <a:xfrm>
            <a:off x="9187011" y="6390413"/>
            <a:ext cx="54694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fr-FR" sz="1050" b="1">
                <a:solidFill>
                  <a:schemeClr val="accent4"/>
                </a:solidFill>
                <a:latin typeface="Gotham Rounded Book" pitchFamily="50" charset="0"/>
              </a:rPr>
              <a:t>SDM </a:t>
            </a:r>
          </a:p>
        </p:txBody>
      </p:sp>
      <p:sp>
        <p:nvSpPr>
          <p:cNvPr id="60" name="Rectangle : coins arrondis 121">
            <a:extLst>
              <a:ext uri="{FF2B5EF4-FFF2-40B4-BE49-F238E27FC236}">
                <a16:creationId xmlns:a16="http://schemas.microsoft.com/office/drawing/2014/main" id="{374EF067-E79C-971E-1A65-3EA6C5412F11}"/>
              </a:ext>
            </a:extLst>
          </p:cNvPr>
          <p:cNvSpPr/>
          <p:nvPr/>
        </p:nvSpPr>
        <p:spPr>
          <a:xfrm rot="5400000">
            <a:off x="6707356" y="2612267"/>
            <a:ext cx="5559205" cy="1910365"/>
          </a:xfrm>
          <a:prstGeom prst="roundRect">
            <a:avLst/>
          </a:prstGeom>
          <a:noFill/>
          <a:ln w="12700">
            <a:solidFill>
              <a:schemeClr val="accent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33870293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E8268D1-F261-3AC5-4BBD-FBF12AFC98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8268D1-F261-3AC5-4BBD-FBF12AFC98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E0BD568-0E5D-54E5-6EED-48C489D0CE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fr-FR" dirty="0" err="1"/>
              <a:t>Bemo</a:t>
            </a:r>
            <a:r>
              <a:rPr lang="fr-FR" dirty="0"/>
              <a:t> platform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1DE7752-DC35-3378-691F-FDBC7281B00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/>
              <a:t>About </a:t>
            </a:r>
            <a:r>
              <a:rPr lang="fr-FR" dirty="0" err="1"/>
              <a:t>Bemo</a:t>
            </a:r>
            <a:endParaRPr lang="fr-FR" dirty="0"/>
          </a:p>
        </p:txBody>
      </p:sp>
      <p:sp>
        <p:nvSpPr>
          <p:cNvPr id="6" name="ZoneTexte 105">
            <a:extLst>
              <a:ext uri="{FF2B5EF4-FFF2-40B4-BE49-F238E27FC236}">
                <a16:creationId xmlns:a16="http://schemas.microsoft.com/office/drawing/2014/main" id="{BB50106C-29E8-F805-2A01-4E8C1048A6CD}"/>
              </a:ext>
            </a:extLst>
          </p:cNvPr>
          <p:cNvSpPr txBox="1"/>
          <p:nvPr/>
        </p:nvSpPr>
        <p:spPr>
          <a:xfrm>
            <a:off x="5439106" y="6563284"/>
            <a:ext cx="1034401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1" i="0" u="none" strike="noStrike" kern="1200" cap="none" spc="0" normalizeH="0" baseline="0" noProof="0" dirty="0">
                <a:ln>
                  <a:noFill/>
                </a:ln>
                <a:solidFill>
                  <a:srgbClr val="32C8C8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rPr>
              <a:t>CPO Third-Party</a:t>
            </a:r>
          </a:p>
        </p:txBody>
      </p:sp>
      <p:pic>
        <p:nvPicPr>
          <p:cNvPr id="7" name="Image 99">
            <a:extLst>
              <a:ext uri="{FF2B5EF4-FFF2-40B4-BE49-F238E27FC236}">
                <a16:creationId xmlns:a16="http://schemas.microsoft.com/office/drawing/2014/main" id="{95302FF8-5184-B2B8-ED09-5ED3F7DD5D3D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86554" y="6249730"/>
            <a:ext cx="743669" cy="501977"/>
          </a:xfrm>
          <a:prstGeom prst="rect">
            <a:avLst/>
          </a:prstGeom>
        </p:spPr>
      </p:pic>
      <p:sp>
        <p:nvSpPr>
          <p:cNvPr id="8" name="ZoneTexte 105">
            <a:extLst>
              <a:ext uri="{FF2B5EF4-FFF2-40B4-BE49-F238E27FC236}">
                <a16:creationId xmlns:a16="http://schemas.microsoft.com/office/drawing/2014/main" id="{0C04DECD-EBCB-F1ED-8A2B-8CC34706C8CF}"/>
              </a:ext>
            </a:extLst>
          </p:cNvPr>
          <p:cNvSpPr txBox="1"/>
          <p:nvPr/>
        </p:nvSpPr>
        <p:spPr>
          <a:xfrm>
            <a:off x="3478955" y="6563284"/>
            <a:ext cx="1034401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1" i="0" u="none" strike="noStrike" kern="1200" cap="none" spc="0" normalizeH="0" baseline="0" noProof="0" dirty="0">
                <a:ln>
                  <a:noFill/>
                </a:ln>
                <a:solidFill>
                  <a:srgbClr val="32C8C8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rPr>
              <a:t>CPO Third-Party</a:t>
            </a:r>
          </a:p>
        </p:txBody>
      </p:sp>
      <p:sp>
        <p:nvSpPr>
          <p:cNvPr id="9" name="ZoneTexte 105">
            <a:extLst>
              <a:ext uri="{FF2B5EF4-FFF2-40B4-BE49-F238E27FC236}">
                <a16:creationId xmlns:a16="http://schemas.microsoft.com/office/drawing/2014/main" id="{89CBF370-56AF-478D-39E8-AB47D783E9C1}"/>
              </a:ext>
            </a:extLst>
          </p:cNvPr>
          <p:cNvSpPr txBox="1"/>
          <p:nvPr/>
        </p:nvSpPr>
        <p:spPr>
          <a:xfrm>
            <a:off x="4464827" y="6563284"/>
            <a:ext cx="1034401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1" i="0" u="none" strike="noStrike" kern="1200" cap="none" spc="0" normalizeH="0" baseline="0" noProof="0" dirty="0">
                <a:ln>
                  <a:noFill/>
                </a:ln>
                <a:solidFill>
                  <a:srgbClr val="32C8C8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rPr>
              <a:t>CPO Third-Party</a:t>
            </a:r>
          </a:p>
        </p:txBody>
      </p:sp>
      <p:sp>
        <p:nvSpPr>
          <p:cNvPr id="10" name="ZoneTexte 105">
            <a:extLst>
              <a:ext uri="{FF2B5EF4-FFF2-40B4-BE49-F238E27FC236}">
                <a16:creationId xmlns:a16="http://schemas.microsoft.com/office/drawing/2014/main" id="{DD93D4C3-0DCD-B6B4-D292-D0CF7E95FE4B}"/>
              </a:ext>
            </a:extLst>
          </p:cNvPr>
          <p:cNvSpPr txBox="1"/>
          <p:nvPr/>
        </p:nvSpPr>
        <p:spPr>
          <a:xfrm>
            <a:off x="2360820" y="6049903"/>
            <a:ext cx="1034401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1" i="0" u="none" strike="noStrike" kern="1200" cap="none" spc="0" normalizeH="0" baseline="0" noProof="0" dirty="0">
                <a:ln>
                  <a:noFill/>
                </a:ln>
                <a:solidFill>
                  <a:srgbClr val="32C8C8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rPr>
              <a:t>CPO Third-Party</a:t>
            </a:r>
          </a:p>
        </p:txBody>
      </p:sp>
      <p:sp>
        <p:nvSpPr>
          <p:cNvPr id="11" name="ZoneTexte 105">
            <a:extLst>
              <a:ext uri="{FF2B5EF4-FFF2-40B4-BE49-F238E27FC236}">
                <a16:creationId xmlns:a16="http://schemas.microsoft.com/office/drawing/2014/main" id="{7E92B288-9B80-4987-2E9D-64A825617973}"/>
              </a:ext>
            </a:extLst>
          </p:cNvPr>
          <p:cNvSpPr txBox="1"/>
          <p:nvPr/>
        </p:nvSpPr>
        <p:spPr>
          <a:xfrm>
            <a:off x="1025658" y="6055953"/>
            <a:ext cx="1054422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1" i="0" u="none" strike="noStrike" kern="1200" cap="none" spc="0" normalizeH="0" baseline="0" noProof="0" dirty="0">
                <a:ln>
                  <a:noFill/>
                </a:ln>
                <a:solidFill>
                  <a:srgbClr val="32C8C8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rPr>
              <a:t>CPO </a:t>
            </a:r>
            <a:r>
              <a:rPr kumimoji="0" lang="en-US" sz="750" b="1" i="0" u="none" strike="noStrike" kern="1200" cap="none" spc="0" normalizeH="0" baseline="0" noProof="0" dirty="0" err="1">
                <a:ln>
                  <a:noFill/>
                </a:ln>
                <a:solidFill>
                  <a:srgbClr val="32C8C8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rPr>
              <a:t>TotalEnergies</a:t>
            </a:r>
            <a:endParaRPr kumimoji="0" lang="en-US" sz="750" b="1" i="0" u="none" strike="noStrike" kern="1200" cap="none" spc="0" normalizeH="0" baseline="0" noProof="0" dirty="0">
              <a:ln>
                <a:noFill/>
              </a:ln>
              <a:solidFill>
                <a:srgbClr val="32C8C8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Calibri" panose="020F050202020403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3095BA6-A08F-2DEC-6CD1-64E96196FD65}"/>
              </a:ext>
            </a:extLst>
          </p:cNvPr>
          <p:cNvSpPr/>
          <p:nvPr/>
        </p:nvSpPr>
        <p:spPr>
          <a:xfrm>
            <a:off x="4051634" y="5578833"/>
            <a:ext cx="1685589" cy="303571"/>
          </a:xfrm>
          <a:prstGeom prst="rect">
            <a:avLst/>
          </a:prstGeom>
          <a:noFill/>
          <a:ln w="9525">
            <a:solidFill>
              <a:srgbClr val="09CE8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9CE82"/>
                </a:solidFill>
                <a:effectLst/>
                <a:uLnTx/>
                <a:uFillTx/>
                <a:latin typeface="Gotham Rounded Medium" panose="02000000000000000000" pitchFamily="50" charset="0"/>
                <a:ea typeface="+mn-ea"/>
                <a:cs typeface="+mn-cs"/>
              </a:rPr>
              <a:t>Plateforme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9CE82"/>
                </a:solidFill>
                <a:effectLst/>
                <a:uLnTx/>
                <a:uFillTx/>
                <a:latin typeface="Gotham Rounded Medium" panose="02000000000000000000" pitchFamily="50" charset="0"/>
                <a:ea typeface="+mn-ea"/>
                <a:cs typeface="+mn-cs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9CE82"/>
                </a:solidFill>
                <a:effectLst/>
                <a:uLnTx/>
                <a:uFillTx/>
                <a:latin typeface="Gotham Rounded Medium" panose="02000000000000000000" pitchFamily="50" charset="0"/>
                <a:ea typeface="+mn-ea"/>
                <a:cs typeface="+mn-cs"/>
              </a:rPr>
              <a:t>d’agrégation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9CE82"/>
                </a:solidFill>
                <a:effectLst/>
                <a:uLnTx/>
                <a:uFillTx/>
                <a:latin typeface="Gotham Rounded Medium" panose="02000000000000000000" pitchFamily="50" charset="0"/>
                <a:ea typeface="+mn-ea"/>
                <a:cs typeface="+mn-cs"/>
              </a:rPr>
              <a:t> CPO (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9CE82"/>
                </a:solidFill>
                <a:effectLst/>
                <a:uLnTx/>
                <a:uFillTx/>
                <a:latin typeface="Gotham Rounded Medium" panose="02000000000000000000" pitchFamily="50" charset="0"/>
                <a:ea typeface="+mn-ea"/>
                <a:cs typeface="+mn-cs"/>
              </a:rPr>
              <a:t>Girève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9CE82"/>
                </a:solidFill>
                <a:effectLst/>
                <a:uLnTx/>
                <a:uFillTx/>
                <a:latin typeface="Gotham Rounded Medium" panose="02000000000000000000" pitchFamily="50" charset="0"/>
                <a:ea typeface="+mn-ea"/>
                <a:cs typeface="+mn-cs"/>
              </a:rPr>
              <a:t>,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9CE82"/>
                </a:solidFill>
                <a:effectLst/>
                <a:uLnTx/>
                <a:uFillTx/>
                <a:latin typeface="Gotham Rounded Medium" panose="02000000000000000000" pitchFamily="50" charset="0"/>
                <a:ea typeface="+mn-ea"/>
                <a:cs typeface="+mn-cs"/>
              </a:rPr>
              <a:t>Hubject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9CE82"/>
                </a:solidFill>
                <a:effectLst/>
                <a:uLnTx/>
                <a:uFillTx/>
                <a:latin typeface="Gotham Rounded Medium" panose="02000000000000000000" pitchFamily="50" charset="0"/>
                <a:ea typeface="+mn-ea"/>
                <a:cs typeface="+mn-cs"/>
              </a:rPr>
              <a:t>…)</a:t>
            </a:r>
          </a:p>
        </p:txBody>
      </p:sp>
      <p:cxnSp>
        <p:nvCxnSpPr>
          <p:cNvPr id="13" name="Connecteur droit 54">
            <a:extLst>
              <a:ext uri="{FF2B5EF4-FFF2-40B4-BE49-F238E27FC236}">
                <a16:creationId xmlns:a16="http://schemas.microsoft.com/office/drawing/2014/main" id="{9BA97D54-D389-5A10-56E4-DBBAC63DA499}"/>
              </a:ext>
            </a:extLst>
          </p:cNvPr>
          <p:cNvCxnSpPr>
            <a:cxnSpLocks/>
          </p:cNvCxnSpPr>
          <p:nvPr/>
        </p:nvCxnSpPr>
        <p:spPr>
          <a:xfrm>
            <a:off x="1450549" y="5252569"/>
            <a:ext cx="3458956" cy="0"/>
          </a:xfrm>
          <a:prstGeom prst="line">
            <a:avLst/>
          </a:prstGeom>
          <a:ln w="15875">
            <a:gradFill>
              <a:gsLst>
                <a:gs pos="0">
                  <a:srgbClr val="09CE75"/>
                </a:gs>
                <a:gs pos="100000">
                  <a:schemeClr val="tx2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55">
            <a:extLst>
              <a:ext uri="{FF2B5EF4-FFF2-40B4-BE49-F238E27FC236}">
                <a16:creationId xmlns:a16="http://schemas.microsoft.com/office/drawing/2014/main" id="{CA1D9AD1-8763-28D8-9CBE-FC9CEA806BC1}"/>
              </a:ext>
            </a:extLst>
          </p:cNvPr>
          <p:cNvCxnSpPr/>
          <p:nvPr/>
        </p:nvCxnSpPr>
        <p:spPr>
          <a:xfrm>
            <a:off x="2839071" y="5266527"/>
            <a:ext cx="0" cy="300634"/>
          </a:xfrm>
          <a:prstGeom prst="line">
            <a:avLst/>
          </a:prstGeom>
          <a:ln w="15875" cap="flat" cmpd="sng" algn="ctr">
            <a:gradFill>
              <a:gsLst>
                <a:gs pos="0">
                  <a:srgbClr val="09CE75"/>
                </a:gs>
                <a:gs pos="100000">
                  <a:schemeClr val="tx2"/>
                </a:gs>
              </a:gsLst>
              <a:lin ang="5400000" scaled="1"/>
            </a:gra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5" name="Connecteur droit 56">
            <a:extLst>
              <a:ext uri="{FF2B5EF4-FFF2-40B4-BE49-F238E27FC236}">
                <a16:creationId xmlns:a16="http://schemas.microsoft.com/office/drawing/2014/main" id="{CC9BBCA7-FBFB-D17A-B890-85AAC1CA4DA9}"/>
              </a:ext>
            </a:extLst>
          </p:cNvPr>
          <p:cNvCxnSpPr/>
          <p:nvPr/>
        </p:nvCxnSpPr>
        <p:spPr>
          <a:xfrm>
            <a:off x="1458388" y="5266527"/>
            <a:ext cx="0" cy="300634"/>
          </a:xfrm>
          <a:prstGeom prst="line">
            <a:avLst/>
          </a:prstGeom>
          <a:ln w="15875" cap="flat" cmpd="sng" algn="ctr">
            <a:gradFill>
              <a:gsLst>
                <a:gs pos="0">
                  <a:srgbClr val="09CE75"/>
                </a:gs>
                <a:gs pos="100000">
                  <a:schemeClr val="tx2"/>
                </a:gs>
              </a:gsLst>
              <a:lin ang="5400000" scaled="1"/>
            </a:gra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6" name="Connecteur droit 57">
            <a:extLst>
              <a:ext uri="{FF2B5EF4-FFF2-40B4-BE49-F238E27FC236}">
                <a16:creationId xmlns:a16="http://schemas.microsoft.com/office/drawing/2014/main" id="{14A6C76E-61F3-C3F2-4E96-55DFF5D58EFD}"/>
              </a:ext>
            </a:extLst>
          </p:cNvPr>
          <p:cNvCxnSpPr/>
          <p:nvPr/>
        </p:nvCxnSpPr>
        <p:spPr>
          <a:xfrm>
            <a:off x="4909505" y="5266527"/>
            <a:ext cx="0" cy="300634"/>
          </a:xfrm>
          <a:prstGeom prst="line">
            <a:avLst/>
          </a:prstGeom>
          <a:ln w="15875" cap="flat" cmpd="sng" algn="ctr">
            <a:gradFill>
              <a:gsLst>
                <a:gs pos="0">
                  <a:srgbClr val="09CE75"/>
                </a:gs>
                <a:gs pos="100000">
                  <a:schemeClr val="tx2"/>
                </a:gs>
              </a:gsLst>
              <a:lin ang="5400000" scaled="1"/>
            </a:gra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7" name="Connecteur droit 60">
            <a:extLst>
              <a:ext uri="{FF2B5EF4-FFF2-40B4-BE49-F238E27FC236}">
                <a16:creationId xmlns:a16="http://schemas.microsoft.com/office/drawing/2014/main" id="{C4A91252-8EE4-8EFF-907D-EEE19BA7B53A}"/>
              </a:ext>
            </a:extLst>
          </p:cNvPr>
          <p:cNvCxnSpPr>
            <a:cxnSpLocks/>
          </p:cNvCxnSpPr>
          <p:nvPr/>
        </p:nvCxnSpPr>
        <p:spPr>
          <a:xfrm flipH="1">
            <a:off x="4152276" y="5964232"/>
            <a:ext cx="145573" cy="169790"/>
          </a:xfrm>
          <a:prstGeom prst="line">
            <a:avLst/>
          </a:prstGeom>
          <a:ln w="15875" cap="flat" cmpd="sng" algn="ctr">
            <a:gradFill>
              <a:gsLst>
                <a:gs pos="0">
                  <a:srgbClr val="09CE75"/>
                </a:gs>
                <a:gs pos="100000">
                  <a:schemeClr val="tx2"/>
                </a:gs>
              </a:gsLst>
              <a:lin ang="5400000" scaled="1"/>
            </a:gra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8" name="Connecteur droit 61">
            <a:extLst>
              <a:ext uri="{FF2B5EF4-FFF2-40B4-BE49-F238E27FC236}">
                <a16:creationId xmlns:a16="http://schemas.microsoft.com/office/drawing/2014/main" id="{6B4AAC07-1373-261A-FC0E-0B759E6B5703}"/>
              </a:ext>
            </a:extLst>
          </p:cNvPr>
          <p:cNvCxnSpPr>
            <a:cxnSpLocks/>
          </p:cNvCxnSpPr>
          <p:nvPr/>
        </p:nvCxnSpPr>
        <p:spPr>
          <a:xfrm>
            <a:off x="4928863" y="5964232"/>
            <a:ext cx="0" cy="169790"/>
          </a:xfrm>
          <a:prstGeom prst="line">
            <a:avLst/>
          </a:prstGeom>
          <a:ln w="15875" cap="flat" cmpd="sng" algn="ctr">
            <a:gradFill>
              <a:gsLst>
                <a:gs pos="0">
                  <a:srgbClr val="09CE75"/>
                </a:gs>
                <a:gs pos="100000">
                  <a:schemeClr val="tx2"/>
                </a:gs>
              </a:gsLst>
              <a:lin ang="5400000" scaled="1"/>
            </a:gra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9" name="Connecteur droit 62">
            <a:extLst>
              <a:ext uri="{FF2B5EF4-FFF2-40B4-BE49-F238E27FC236}">
                <a16:creationId xmlns:a16="http://schemas.microsoft.com/office/drawing/2014/main" id="{1F7FA3DA-2BC2-DBCE-B4BA-3A899B84741B}"/>
              </a:ext>
            </a:extLst>
          </p:cNvPr>
          <p:cNvCxnSpPr>
            <a:cxnSpLocks/>
          </p:cNvCxnSpPr>
          <p:nvPr/>
        </p:nvCxnSpPr>
        <p:spPr>
          <a:xfrm>
            <a:off x="5500295" y="5932414"/>
            <a:ext cx="179486" cy="166250"/>
          </a:xfrm>
          <a:prstGeom prst="line">
            <a:avLst/>
          </a:prstGeom>
          <a:ln w="15875" cap="flat" cmpd="sng" algn="ctr">
            <a:gradFill>
              <a:gsLst>
                <a:gs pos="0">
                  <a:srgbClr val="09CE75"/>
                </a:gs>
                <a:gs pos="100000">
                  <a:schemeClr val="tx2"/>
                </a:gs>
              </a:gsLst>
              <a:lin ang="5400000" scaled="1"/>
            </a:gra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0" name="Rectangle : avec coins arrondis en diagonale 1">
            <a:extLst>
              <a:ext uri="{FF2B5EF4-FFF2-40B4-BE49-F238E27FC236}">
                <a16:creationId xmlns:a16="http://schemas.microsoft.com/office/drawing/2014/main" id="{E3594174-4D7C-D1F8-8354-C49135188BAF}"/>
              </a:ext>
            </a:extLst>
          </p:cNvPr>
          <p:cNvSpPr/>
          <p:nvPr/>
        </p:nvSpPr>
        <p:spPr>
          <a:xfrm>
            <a:off x="600070" y="1749201"/>
            <a:ext cx="2880000" cy="2434293"/>
          </a:xfrm>
          <a:prstGeom prst="round2DiagRect">
            <a:avLst/>
          </a:prstGeom>
          <a:noFill/>
          <a:ln w="19050">
            <a:gradFill>
              <a:gsLst>
                <a:gs pos="0">
                  <a:schemeClr val="tx2"/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5400000" scaled="1"/>
            </a:gra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otham Rounded Light" pitchFamily="50" charset="0"/>
              <a:ea typeface="+mn-ea"/>
              <a:cs typeface="+mn-cs"/>
            </a:endParaRPr>
          </a:p>
        </p:txBody>
      </p:sp>
      <p:sp>
        <p:nvSpPr>
          <p:cNvPr id="21" name="ZoneTexte 14">
            <a:extLst>
              <a:ext uri="{FF2B5EF4-FFF2-40B4-BE49-F238E27FC236}">
                <a16:creationId xmlns:a16="http://schemas.microsoft.com/office/drawing/2014/main" id="{2E5DDE5A-3388-6D94-5182-E600693503BE}"/>
              </a:ext>
            </a:extLst>
          </p:cNvPr>
          <p:cNvSpPr txBox="1"/>
          <p:nvPr/>
        </p:nvSpPr>
        <p:spPr>
          <a:xfrm>
            <a:off x="1183650" y="1458713"/>
            <a:ext cx="171284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285AFF">
                        <a:shade val="30000"/>
                        <a:satMod val="115000"/>
                      </a:srgbClr>
                    </a:gs>
                    <a:gs pos="50000">
                      <a:srgbClr val="285AFF">
                        <a:shade val="67500"/>
                        <a:satMod val="115000"/>
                      </a:srgbClr>
                    </a:gs>
                    <a:gs pos="100000">
                      <a:srgbClr val="285AFF">
                        <a:shade val="100000"/>
                        <a:satMod val="115000"/>
                      </a:srgbClr>
                    </a:gs>
                  </a:gsLst>
                  <a:lin ang="13500000" scaled="1"/>
                  <a:tileRect/>
                </a:gradFill>
                <a:effectLst/>
                <a:uLnTx/>
                <a:uFillTx/>
                <a:latin typeface="Gotham Rounded Medium" panose="02000000000000000000" pitchFamily="50" charset="0"/>
              </a:rPr>
              <a:t>MSP </a:t>
            </a:r>
            <a:r>
              <a:rPr lang="en-US" sz="1600" dirty="0" err="1">
                <a:gradFill flip="none" rotWithShape="1">
                  <a:gsLst>
                    <a:gs pos="0">
                      <a:srgbClr val="285AFF">
                        <a:shade val="30000"/>
                        <a:satMod val="115000"/>
                      </a:srgbClr>
                    </a:gs>
                    <a:gs pos="50000">
                      <a:srgbClr val="285AFF">
                        <a:shade val="67500"/>
                        <a:satMod val="115000"/>
                      </a:srgbClr>
                    </a:gs>
                    <a:gs pos="100000">
                      <a:srgbClr val="285AFF">
                        <a:shade val="100000"/>
                        <a:satMod val="115000"/>
                      </a:srgbClr>
                    </a:gs>
                  </a:gsLst>
                  <a:lin ang="13500000" scaled="1"/>
                  <a:tileRect/>
                </a:gradFill>
                <a:latin typeface="Gotham Rounded Medium" panose="02000000000000000000" pitchFamily="50" charset="0"/>
              </a:rPr>
              <a:t>TotalEnergie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gradFill flip="none" rotWithShape="1">
                <a:gsLst>
                  <a:gs pos="0">
                    <a:srgbClr val="285AFF">
                      <a:shade val="30000"/>
                      <a:satMod val="115000"/>
                    </a:srgbClr>
                  </a:gs>
                  <a:gs pos="50000">
                    <a:srgbClr val="285AFF">
                      <a:shade val="67500"/>
                      <a:satMod val="115000"/>
                    </a:srgbClr>
                  </a:gs>
                  <a:gs pos="100000">
                    <a:srgbClr val="285AFF">
                      <a:shade val="100000"/>
                      <a:satMod val="115000"/>
                    </a:srgbClr>
                  </a:gs>
                </a:gsLst>
                <a:lin ang="13500000" scaled="1"/>
                <a:tileRect/>
              </a:gradFill>
              <a:effectLst/>
              <a:uLnTx/>
              <a:uFillTx/>
              <a:latin typeface="Gotham Rounded Medium" panose="02000000000000000000" pitchFamily="50" charset="0"/>
            </a:endParaRPr>
          </a:p>
        </p:txBody>
      </p:sp>
      <p:sp>
        <p:nvSpPr>
          <p:cNvPr id="22" name="Rectangle : avec coins arrondis en diagonale 72">
            <a:extLst>
              <a:ext uri="{FF2B5EF4-FFF2-40B4-BE49-F238E27FC236}">
                <a16:creationId xmlns:a16="http://schemas.microsoft.com/office/drawing/2014/main" id="{B663EE75-1551-EB63-4F5A-B703CF9DAE31}"/>
              </a:ext>
            </a:extLst>
          </p:cNvPr>
          <p:cNvSpPr/>
          <p:nvPr/>
        </p:nvSpPr>
        <p:spPr>
          <a:xfrm>
            <a:off x="4152276" y="1757367"/>
            <a:ext cx="2880000" cy="2322086"/>
          </a:xfrm>
          <a:prstGeom prst="round2DiagRect">
            <a:avLst/>
          </a:prstGeom>
          <a:noFill/>
          <a:ln w="19050">
            <a:gradFill>
              <a:gsLst>
                <a:gs pos="0">
                  <a:srgbClr val="09CE82"/>
                </a:gs>
                <a:gs pos="100000">
                  <a:schemeClr val="accent3">
                    <a:lumMod val="60000"/>
                    <a:lumOff val="40000"/>
                  </a:schemeClr>
                </a:gs>
              </a:gsLst>
              <a:lin ang="5400000" scaled="1"/>
            </a:gra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otham Rounded Light" pitchFamily="50" charset="0"/>
              <a:ea typeface="+mn-ea"/>
              <a:cs typeface="+mn-cs"/>
            </a:endParaRPr>
          </a:p>
        </p:txBody>
      </p:sp>
      <p:sp>
        <p:nvSpPr>
          <p:cNvPr id="23" name="ZoneTexte 73">
            <a:extLst>
              <a:ext uri="{FF2B5EF4-FFF2-40B4-BE49-F238E27FC236}">
                <a16:creationId xmlns:a16="http://schemas.microsoft.com/office/drawing/2014/main" id="{D6A565BE-11B2-ED1A-1200-99417F8278E7}"/>
              </a:ext>
            </a:extLst>
          </p:cNvPr>
          <p:cNvSpPr txBox="1"/>
          <p:nvPr/>
        </p:nvSpPr>
        <p:spPr>
          <a:xfrm>
            <a:off x="4354625" y="1444119"/>
            <a:ext cx="247530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1600">
                <a:gradFill flip="none" rotWithShape="1">
                  <a:gsLst>
                    <a:gs pos="0">
                      <a:schemeClr val="tx2">
                        <a:shade val="30000"/>
                        <a:satMod val="115000"/>
                      </a:schemeClr>
                    </a:gs>
                    <a:gs pos="50000">
                      <a:schemeClr val="tx2">
                        <a:shade val="67500"/>
                        <a:satMod val="115000"/>
                      </a:schemeClr>
                    </a:gs>
                    <a:gs pos="100000">
                      <a:schemeClr val="tx2">
                        <a:shade val="100000"/>
                        <a:satMod val="115000"/>
                      </a:schemeClr>
                    </a:gs>
                  </a:gsLst>
                  <a:lin ang="13500000" scaled="1"/>
                  <a:tileRect/>
                </a:gradFill>
                <a:latin typeface="Gotham Rounded Medium" panose="02000000000000000000" pitchFamily="50" charset="0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gradFill flip="none" rotWithShape="1">
                  <a:gsLst>
                    <a:gs pos="43900">
                      <a:srgbClr val="3DE458"/>
                    </a:gs>
                    <a:gs pos="0">
                      <a:srgbClr val="09CE75"/>
                    </a:gs>
                    <a:gs pos="100000">
                      <a:srgbClr val="28C896">
                        <a:lumMod val="60000"/>
                        <a:lumOff val="40000"/>
                      </a:srgbClr>
                    </a:gs>
                  </a:gsLst>
                  <a:lin ang="13500000" scaled="1"/>
                  <a:tileRect/>
                </a:gradFill>
              </a:rPr>
              <a:t>External MSP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gradFill flip="none" rotWithShape="1">
                <a:gsLst>
                  <a:gs pos="43900">
                    <a:srgbClr val="3DE458"/>
                  </a:gs>
                  <a:gs pos="0">
                    <a:srgbClr val="09CE75"/>
                  </a:gs>
                  <a:gs pos="100000">
                    <a:srgbClr val="28C896">
                      <a:lumMod val="60000"/>
                      <a:lumOff val="40000"/>
                    </a:srgbClr>
                  </a:gs>
                </a:gsLst>
                <a:lin ang="13500000" scaled="1"/>
                <a:tileRect/>
              </a:gradFill>
              <a:effectLst/>
              <a:uLnTx/>
              <a:uFillTx/>
            </a:endParaRPr>
          </a:p>
        </p:txBody>
      </p:sp>
      <p:cxnSp>
        <p:nvCxnSpPr>
          <p:cNvPr id="24" name="Connecteur droit 95">
            <a:extLst>
              <a:ext uri="{FF2B5EF4-FFF2-40B4-BE49-F238E27FC236}">
                <a16:creationId xmlns:a16="http://schemas.microsoft.com/office/drawing/2014/main" id="{89A0F159-9E3C-75A4-1D86-3A3B1CD05FE1}"/>
              </a:ext>
            </a:extLst>
          </p:cNvPr>
          <p:cNvCxnSpPr>
            <a:cxnSpLocks/>
          </p:cNvCxnSpPr>
          <p:nvPr/>
        </p:nvCxnSpPr>
        <p:spPr>
          <a:xfrm flipV="1">
            <a:off x="1844889" y="4178376"/>
            <a:ext cx="0" cy="214057"/>
          </a:xfrm>
          <a:prstGeom prst="line">
            <a:avLst/>
          </a:prstGeom>
          <a:ln w="15875" cap="flat" cmpd="sng" algn="ctr">
            <a:gradFill>
              <a:gsLst>
                <a:gs pos="0">
                  <a:schemeClr val="accent5"/>
                </a:gs>
                <a:gs pos="100000">
                  <a:schemeClr val="accent1">
                    <a:lumMod val="75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5" name="Connecteur droit 96">
            <a:extLst>
              <a:ext uri="{FF2B5EF4-FFF2-40B4-BE49-F238E27FC236}">
                <a16:creationId xmlns:a16="http://schemas.microsoft.com/office/drawing/2014/main" id="{DDA87DEF-4396-0820-FE75-8E9875E7C9D7}"/>
              </a:ext>
            </a:extLst>
          </p:cNvPr>
          <p:cNvCxnSpPr>
            <a:cxnSpLocks/>
          </p:cNvCxnSpPr>
          <p:nvPr/>
        </p:nvCxnSpPr>
        <p:spPr>
          <a:xfrm flipV="1">
            <a:off x="5350089" y="4066170"/>
            <a:ext cx="0" cy="318098"/>
          </a:xfrm>
          <a:prstGeom prst="line">
            <a:avLst/>
          </a:prstGeom>
          <a:ln w="15875" cap="flat" cmpd="sng" algn="ctr">
            <a:gradFill>
              <a:gsLst>
                <a:gs pos="0">
                  <a:srgbClr val="09CE75"/>
                </a:gs>
                <a:gs pos="100000">
                  <a:srgbClr val="09CE75"/>
                </a:gs>
              </a:gsLst>
              <a:lin ang="5400000" scaled="1"/>
            </a:gra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26" name="Picture 2">
            <a:extLst>
              <a:ext uri="{FF2B5EF4-FFF2-40B4-BE49-F238E27FC236}">
                <a16:creationId xmlns:a16="http://schemas.microsoft.com/office/drawing/2014/main" id="{4266E665-61DE-5487-27C7-85081B5E97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3391" y="5674027"/>
            <a:ext cx="389912" cy="3812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">
            <a:extLst>
              <a:ext uri="{FF2B5EF4-FFF2-40B4-BE49-F238E27FC236}">
                <a16:creationId xmlns:a16="http://schemas.microsoft.com/office/drawing/2014/main" id="{A4D8F37D-8AEB-870C-03E6-BE741277C9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2905" y="5654122"/>
            <a:ext cx="389912" cy="3812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">
            <a:extLst>
              <a:ext uri="{FF2B5EF4-FFF2-40B4-BE49-F238E27FC236}">
                <a16:creationId xmlns:a16="http://schemas.microsoft.com/office/drawing/2014/main" id="{128866CC-234F-B195-BB38-4FC53F1BD9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7071" y="6190267"/>
            <a:ext cx="389912" cy="3812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">
            <a:extLst>
              <a:ext uri="{FF2B5EF4-FFF2-40B4-BE49-F238E27FC236}">
                <a16:creationId xmlns:a16="http://schemas.microsoft.com/office/drawing/2014/main" id="{7651542D-8188-FD93-04E8-5743ECA699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5150" y="6190267"/>
            <a:ext cx="389912" cy="3812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">
            <a:extLst>
              <a:ext uri="{FF2B5EF4-FFF2-40B4-BE49-F238E27FC236}">
                <a16:creationId xmlns:a16="http://schemas.microsoft.com/office/drawing/2014/main" id="{0EA742DE-4D5E-F461-A84D-25BF845626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9396" y="6190267"/>
            <a:ext cx="389912" cy="3812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ZoneTexte 68">
            <a:extLst>
              <a:ext uri="{FF2B5EF4-FFF2-40B4-BE49-F238E27FC236}">
                <a16:creationId xmlns:a16="http://schemas.microsoft.com/office/drawing/2014/main" id="{87B484EA-9942-09B4-2BC4-1E8F28A689C0}"/>
              </a:ext>
            </a:extLst>
          </p:cNvPr>
          <p:cNvSpPr txBox="1"/>
          <p:nvPr/>
        </p:nvSpPr>
        <p:spPr>
          <a:xfrm>
            <a:off x="1527606" y="2070886"/>
            <a:ext cx="122097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7098A7"/>
                </a:solidFill>
                <a:effectLst/>
                <a:uLnTx/>
                <a:uFillTx/>
                <a:latin typeface="Gotham Rounded Medium" panose="02000000000000000000" pitchFamily="50" charset="0"/>
                <a:ea typeface="+mn-ea"/>
                <a:cs typeface="+mn-cs"/>
              </a:rPr>
              <a:t>Fleet (MSP B2B) </a:t>
            </a:r>
          </a:p>
        </p:txBody>
      </p:sp>
      <p:pic>
        <p:nvPicPr>
          <p:cNvPr id="32" name="Picture 4">
            <a:extLst>
              <a:ext uri="{FF2B5EF4-FFF2-40B4-BE49-F238E27FC236}">
                <a16:creationId xmlns:a16="http://schemas.microsoft.com/office/drawing/2014/main" id="{B24BA3DB-F047-E58F-93E7-56D880674B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2017" y="1995181"/>
            <a:ext cx="576001" cy="4034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ZoneTexte 71">
            <a:extLst>
              <a:ext uri="{FF2B5EF4-FFF2-40B4-BE49-F238E27FC236}">
                <a16:creationId xmlns:a16="http://schemas.microsoft.com/office/drawing/2014/main" id="{CE584A25-53EC-A46A-AA1D-9457D87D5752}"/>
              </a:ext>
            </a:extLst>
          </p:cNvPr>
          <p:cNvSpPr txBox="1"/>
          <p:nvPr/>
        </p:nvSpPr>
        <p:spPr>
          <a:xfrm>
            <a:off x="5233836" y="2916146"/>
            <a:ext cx="13741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1200">
                <a:latin typeface="Gotham Rounded Medium" panose="02000000000000000000" pitchFamily="50" charset="0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7098A7"/>
                </a:solidFill>
                <a:effectLst/>
                <a:uLnTx/>
                <a:uFillTx/>
                <a:latin typeface="Gotham Rounded Medium" panose="02000000000000000000" pitchFamily="50" charset="0"/>
                <a:ea typeface="+mn-ea"/>
                <a:cs typeface="+mn-cs"/>
              </a:rPr>
              <a:t>Car sharing</a:t>
            </a:r>
          </a:p>
        </p:txBody>
      </p:sp>
      <p:pic>
        <p:nvPicPr>
          <p:cNvPr id="34" name="Image 18">
            <a:extLst>
              <a:ext uri="{FF2B5EF4-FFF2-40B4-BE49-F238E27FC236}">
                <a16:creationId xmlns:a16="http://schemas.microsoft.com/office/drawing/2014/main" id="{FC5911E4-1F3A-9F17-E514-44401C8C77F3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152276" y="2186853"/>
            <a:ext cx="1272922" cy="597295"/>
          </a:xfrm>
          <a:prstGeom prst="rect">
            <a:avLst/>
          </a:prstGeom>
        </p:spPr>
      </p:pic>
      <p:sp>
        <p:nvSpPr>
          <p:cNvPr id="35" name="ZoneTexte 93">
            <a:extLst>
              <a:ext uri="{FF2B5EF4-FFF2-40B4-BE49-F238E27FC236}">
                <a16:creationId xmlns:a16="http://schemas.microsoft.com/office/drawing/2014/main" id="{D805ABA2-8108-08CB-04FD-FEF3BEF91698}"/>
              </a:ext>
            </a:extLst>
          </p:cNvPr>
          <p:cNvSpPr txBox="1"/>
          <p:nvPr/>
        </p:nvSpPr>
        <p:spPr>
          <a:xfrm>
            <a:off x="5171030" y="2359237"/>
            <a:ext cx="15981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1200">
                <a:latin typeface="Gotham Rounded Medium" panose="02000000000000000000" pitchFamily="50" charset="0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7098A7"/>
                </a:solidFill>
                <a:effectLst/>
                <a:uLnTx/>
                <a:uFillTx/>
                <a:latin typeface="Gotham Rounded Medium" panose="02000000000000000000" pitchFamily="50" charset="0"/>
                <a:ea typeface="+mn-ea"/>
                <a:cs typeface="+mn-cs"/>
              </a:rPr>
              <a:t>Péagist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7098A7"/>
                </a:solidFill>
                <a:effectLst/>
                <a:uLnTx/>
                <a:uFillTx/>
                <a:latin typeface="Gotham Rounded Medium" panose="02000000000000000000" pitchFamily="50" charset="0"/>
                <a:ea typeface="+mn-ea"/>
                <a:cs typeface="+mn-cs"/>
              </a:rPr>
              <a:t> (SANEF)</a:t>
            </a:r>
          </a:p>
        </p:txBody>
      </p:sp>
      <p:grpSp>
        <p:nvGrpSpPr>
          <p:cNvPr id="36" name="Groupe 30">
            <a:extLst>
              <a:ext uri="{FF2B5EF4-FFF2-40B4-BE49-F238E27FC236}">
                <a16:creationId xmlns:a16="http://schemas.microsoft.com/office/drawing/2014/main" id="{0AD7F35A-5CB2-5C4E-6BD0-C05383A29EE0}"/>
              </a:ext>
            </a:extLst>
          </p:cNvPr>
          <p:cNvGrpSpPr/>
          <p:nvPr/>
        </p:nvGrpSpPr>
        <p:grpSpPr>
          <a:xfrm>
            <a:off x="4481775" y="2603565"/>
            <a:ext cx="675622" cy="767139"/>
            <a:chOff x="4819970" y="2181971"/>
            <a:chExt cx="779169" cy="884712"/>
          </a:xfrm>
        </p:grpSpPr>
        <p:pic>
          <p:nvPicPr>
            <p:cNvPr id="37" name="Picture 8">
              <a:extLst>
                <a:ext uri="{FF2B5EF4-FFF2-40B4-BE49-F238E27FC236}">
                  <a16:creationId xmlns:a16="http://schemas.microsoft.com/office/drawing/2014/main" id="{9FECFAC6-ECA1-F39C-DD24-6482B2C94CE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19970" y="2869605"/>
              <a:ext cx="601792" cy="1970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8" name="Picture 2" descr="Car Rental &amp; Car Sharing - Hamburg Airport">
              <a:extLst>
                <a:ext uri="{FF2B5EF4-FFF2-40B4-BE49-F238E27FC236}">
                  <a16:creationId xmlns:a16="http://schemas.microsoft.com/office/drawing/2014/main" id="{48504713-FECF-D5B9-E346-C53AE1E4816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42964" y="2181971"/>
              <a:ext cx="629545" cy="5041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9" name="Image 4">
              <a:extLst>
                <a:ext uri="{FF2B5EF4-FFF2-40B4-BE49-F238E27FC236}">
                  <a16:creationId xmlns:a16="http://schemas.microsoft.com/office/drawing/2014/main" id="{BD4F1D39-1016-B557-7985-FE01994EB9FA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4842965" y="2642911"/>
              <a:ext cx="756174" cy="158324"/>
            </a:xfrm>
            <a:prstGeom prst="rect">
              <a:avLst/>
            </a:prstGeom>
          </p:spPr>
        </p:pic>
      </p:grpSp>
      <p:sp>
        <p:nvSpPr>
          <p:cNvPr id="40" name="Parenthèse fermante 5">
            <a:extLst>
              <a:ext uri="{FF2B5EF4-FFF2-40B4-BE49-F238E27FC236}">
                <a16:creationId xmlns:a16="http://schemas.microsoft.com/office/drawing/2014/main" id="{11DEE00F-52A6-EC97-A4EC-00CF222C6D92}"/>
              </a:ext>
            </a:extLst>
          </p:cNvPr>
          <p:cNvSpPr/>
          <p:nvPr/>
        </p:nvSpPr>
        <p:spPr>
          <a:xfrm>
            <a:off x="3032698" y="2884986"/>
            <a:ext cx="181925" cy="811114"/>
          </a:xfrm>
          <a:prstGeom prst="rightBracket">
            <a:avLst/>
          </a:prstGeom>
          <a:ln w="15875">
            <a:gradFill>
              <a:gsLst>
                <a:gs pos="0">
                  <a:srgbClr val="09CE75"/>
                </a:gs>
                <a:gs pos="100000">
                  <a:schemeClr val="tx2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7098A7"/>
              </a:solidFill>
              <a:effectLst/>
              <a:uLnTx/>
              <a:uFillTx/>
              <a:latin typeface="Gotham Rounded Light" pitchFamily="50" charset="0"/>
              <a:ea typeface="+mn-ea"/>
              <a:cs typeface="+mn-cs"/>
            </a:endParaRPr>
          </a:p>
        </p:txBody>
      </p:sp>
      <p:pic>
        <p:nvPicPr>
          <p:cNvPr id="41" name="Image 99">
            <a:extLst>
              <a:ext uri="{FF2B5EF4-FFF2-40B4-BE49-F238E27FC236}">
                <a16:creationId xmlns:a16="http://schemas.microsoft.com/office/drawing/2014/main" id="{D3E6F9AD-CF6A-7FBF-096C-45E11E51FC4D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953592" y="1794580"/>
            <a:ext cx="501563" cy="338555"/>
          </a:xfrm>
          <a:prstGeom prst="rect">
            <a:avLst/>
          </a:prstGeom>
        </p:spPr>
      </p:pic>
      <p:sp>
        <p:nvSpPr>
          <p:cNvPr id="42" name="ZoneTexte 75">
            <a:extLst>
              <a:ext uri="{FF2B5EF4-FFF2-40B4-BE49-F238E27FC236}">
                <a16:creationId xmlns:a16="http://schemas.microsoft.com/office/drawing/2014/main" id="{05804EF7-1ED5-0785-866F-2B27FD1F7D59}"/>
              </a:ext>
            </a:extLst>
          </p:cNvPr>
          <p:cNvSpPr txBox="1"/>
          <p:nvPr/>
        </p:nvSpPr>
        <p:spPr>
          <a:xfrm>
            <a:off x="5147469" y="3513744"/>
            <a:ext cx="14604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1200">
                <a:latin typeface="Gotham Rounded Medium" panose="02000000000000000000" pitchFamily="50" charset="0"/>
              </a:defRPr>
            </a:lvl1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7098A7"/>
                </a:solidFill>
                <a:effectLst/>
                <a:uLnTx/>
                <a:uFillTx/>
                <a:latin typeface="Gotham Rounded Medium" panose="02000000000000000000" pitchFamily="50" charset="0"/>
                <a:ea typeface="+mn-ea"/>
                <a:cs typeface="+mn-cs"/>
              </a:rPr>
              <a:t>Maa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7098A7"/>
                </a:solidFill>
                <a:effectLst/>
                <a:uLnTx/>
                <a:uFillTx/>
                <a:latin typeface="Gotham Rounded Medium" panose="02000000000000000000" pitchFamily="50" charset="0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7098A7"/>
                </a:solidFill>
                <a:effectLst/>
                <a:uLnTx/>
                <a:uFillTx/>
                <a:latin typeface="Gotham Rounded Medium" panose="02000000000000000000" pitchFamily="50" charset="0"/>
                <a:ea typeface="+mn-ea"/>
                <a:cs typeface="+mn-cs"/>
              </a:rPr>
              <a:t>belg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7098A7"/>
                </a:solidFill>
                <a:effectLst/>
                <a:uLnTx/>
                <a:uFillTx/>
                <a:latin typeface="Gotham Rounded Medium" panose="02000000000000000000" pitchFamily="50" charset="0"/>
                <a:ea typeface="+mn-ea"/>
                <a:cs typeface="+mn-cs"/>
              </a:rPr>
              <a:t> 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7098A7"/>
                </a:solidFill>
                <a:effectLst/>
                <a:uLnTx/>
                <a:uFillTx/>
                <a:latin typeface="Gotham Rounded Medium" panose="02000000000000000000" pitchFamily="50" charset="0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7098A7"/>
                </a:solidFill>
                <a:effectLst/>
                <a:uLnTx/>
                <a:uFillTx/>
                <a:latin typeface="Gotham Rounded Medium" panose="02000000000000000000" pitchFamily="50" charset="0"/>
                <a:ea typeface="+mn-ea"/>
                <a:cs typeface="+mn-cs"/>
              </a:rPr>
              <a:t>(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7098A7"/>
                </a:solidFill>
                <a:effectLst/>
                <a:uLnTx/>
                <a:uFillTx/>
                <a:latin typeface="Gotham Rounded Medium" panose="02000000000000000000" pitchFamily="50" charset="0"/>
                <a:ea typeface="+mn-ea"/>
                <a:cs typeface="+mn-cs"/>
              </a:rPr>
              <a:t>proj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7098A7"/>
                </a:solidFill>
                <a:effectLst/>
                <a:uLnTx/>
                <a:uFillTx/>
                <a:latin typeface="Gotham Rounded Medium" panose="02000000000000000000" pitchFamily="50" charset="0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7098A7"/>
                </a:solidFill>
                <a:effectLst/>
                <a:uLnTx/>
                <a:uFillTx/>
                <a:latin typeface="Gotham Rounded Medium" panose="02000000000000000000" pitchFamily="50" charset="0"/>
                <a:ea typeface="+mn-ea"/>
                <a:cs typeface="+mn-cs"/>
              </a:rPr>
              <a:t>e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7098A7"/>
                </a:solidFill>
                <a:effectLst/>
                <a:uLnTx/>
                <a:uFillTx/>
                <a:latin typeface="Gotham Rounded Medium" panose="02000000000000000000" pitchFamily="50" charset="0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7098A7"/>
                </a:solidFill>
                <a:effectLst/>
                <a:uLnTx/>
                <a:uFillTx/>
                <a:latin typeface="Gotham Rounded Medium" panose="02000000000000000000" pitchFamily="50" charset="0"/>
                <a:ea typeface="+mn-ea"/>
                <a:cs typeface="+mn-cs"/>
              </a:rPr>
              <a:t>cour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7098A7"/>
                </a:solidFill>
                <a:effectLst/>
                <a:uLnTx/>
                <a:uFillTx/>
                <a:latin typeface="Gotham Rounded Medium" panose="02000000000000000000" pitchFamily="50" charset="0"/>
                <a:ea typeface="+mn-ea"/>
                <a:cs typeface="+mn-cs"/>
              </a:rPr>
              <a:t>)</a:t>
            </a:r>
          </a:p>
        </p:txBody>
      </p:sp>
      <p:pic>
        <p:nvPicPr>
          <p:cNvPr id="43" name="Picture 72" descr="Be-Mobile - Jules Lesmart">
            <a:extLst>
              <a:ext uri="{FF2B5EF4-FFF2-40B4-BE49-F238E27FC236}">
                <a16:creationId xmlns:a16="http://schemas.microsoft.com/office/drawing/2014/main" id="{D4325A83-D808-9BC6-DF66-C24611BB91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6087" y="3669300"/>
            <a:ext cx="659754" cy="152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ZoneTexte 81">
            <a:extLst>
              <a:ext uri="{FF2B5EF4-FFF2-40B4-BE49-F238E27FC236}">
                <a16:creationId xmlns:a16="http://schemas.microsoft.com/office/drawing/2014/main" id="{6422FCD1-5F01-88C5-D981-E2F5F57F69D6}"/>
              </a:ext>
            </a:extLst>
          </p:cNvPr>
          <p:cNvSpPr txBox="1"/>
          <p:nvPr/>
        </p:nvSpPr>
        <p:spPr>
          <a:xfrm>
            <a:off x="1551126" y="2482523"/>
            <a:ext cx="110299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1200">
                <a:latin typeface="Gotham Rounded Medium" panose="02000000000000000000" pitchFamily="50" charset="0"/>
              </a:defRPr>
            </a:lvl1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7098A7"/>
                </a:solidFill>
                <a:effectLst/>
                <a:uLnTx/>
                <a:uFillTx/>
                <a:latin typeface="Gotham Rounded Medium" panose="02000000000000000000" pitchFamily="50" charset="0"/>
                <a:ea typeface="+mn-ea"/>
                <a:cs typeface="+mn-cs"/>
              </a:rPr>
              <a:t>Charge + (B2C)</a:t>
            </a:r>
          </a:p>
        </p:txBody>
      </p:sp>
      <p:pic>
        <p:nvPicPr>
          <p:cNvPr id="45" name="Image 191">
            <a:extLst>
              <a:ext uri="{FF2B5EF4-FFF2-40B4-BE49-F238E27FC236}">
                <a16:creationId xmlns:a16="http://schemas.microsoft.com/office/drawing/2014/main" id="{45BA525D-B09D-B825-FC6C-50A90222833B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82826" y="2474755"/>
            <a:ext cx="508945" cy="320856"/>
          </a:xfrm>
          <a:prstGeom prst="rect">
            <a:avLst/>
          </a:prstGeom>
        </p:spPr>
      </p:pic>
      <p:pic>
        <p:nvPicPr>
          <p:cNvPr id="46" name="Image 191">
            <a:extLst>
              <a:ext uri="{FF2B5EF4-FFF2-40B4-BE49-F238E27FC236}">
                <a16:creationId xmlns:a16="http://schemas.microsoft.com/office/drawing/2014/main" id="{A71E5C84-95A8-2B41-BDB6-5108200DF3F2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87037" y="2915084"/>
            <a:ext cx="488199" cy="307777"/>
          </a:xfrm>
          <a:prstGeom prst="rect">
            <a:avLst/>
          </a:prstGeom>
        </p:spPr>
      </p:pic>
      <p:sp>
        <p:nvSpPr>
          <p:cNvPr id="47" name="ZoneTexte 7">
            <a:extLst>
              <a:ext uri="{FF2B5EF4-FFF2-40B4-BE49-F238E27FC236}">
                <a16:creationId xmlns:a16="http://schemas.microsoft.com/office/drawing/2014/main" id="{8F4F11EC-14FE-115F-B8ED-B656BA29BDD5}"/>
              </a:ext>
            </a:extLst>
          </p:cNvPr>
          <p:cNvSpPr txBox="1"/>
          <p:nvPr/>
        </p:nvSpPr>
        <p:spPr>
          <a:xfrm>
            <a:off x="1475236" y="2937710"/>
            <a:ext cx="18204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1200">
                <a:latin typeface="Gotham Rounded Medium" panose="02000000000000000000" pitchFamily="50" charset="0"/>
              </a:defRPr>
            </a:lvl1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7098A7"/>
                </a:solidFill>
                <a:effectLst/>
                <a:uLnTx/>
                <a:uFillTx/>
                <a:latin typeface="Gotham Rounded Medium" panose="02000000000000000000" pitchFamily="50" charset="0"/>
                <a:ea typeface="+mn-ea"/>
                <a:cs typeface="+mn-cs"/>
              </a:rPr>
              <a:t>Charge + Business (B2B)</a:t>
            </a:r>
          </a:p>
        </p:txBody>
      </p:sp>
      <p:sp>
        <p:nvSpPr>
          <p:cNvPr id="48" name="ZoneTexte 10">
            <a:extLst>
              <a:ext uri="{FF2B5EF4-FFF2-40B4-BE49-F238E27FC236}">
                <a16:creationId xmlns:a16="http://schemas.microsoft.com/office/drawing/2014/main" id="{CDC2CAE5-67B8-58F7-8D32-8FFA2E336AA4}"/>
              </a:ext>
            </a:extLst>
          </p:cNvPr>
          <p:cNvSpPr txBox="1"/>
          <p:nvPr/>
        </p:nvSpPr>
        <p:spPr>
          <a:xfrm>
            <a:off x="1527606" y="3372137"/>
            <a:ext cx="165808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1200">
                <a:latin typeface="Gotham Rounded Medium" panose="02000000000000000000" pitchFamily="50" charset="0"/>
              </a:defRPr>
            </a:lvl1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7098A7"/>
                </a:solidFill>
                <a:effectLst/>
                <a:uLnTx/>
                <a:uFillTx/>
                <a:latin typeface="Gotham Rounded Medium" panose="02000000000000000000" pitchFamily="50" charset="0"/>
                <a:ea typeface="+mn-ea"/>
                <a:cs typeface="+mn-cs"/>
              </a:rPr>
              <a:t>Madrid local MSP</a:t>
            </a:r>
          </a:p>
        </p:txBody>
      </p:sp>
      <p:sp>
        <p:nvSpPr>
          <p:cNvPr id="49" name="ZoneTexte 23">
            <a:extLst>
              <a:ext uri="{FF2B5EF4-FFF2-40B4-BE49-F238E27FC236}">
                <a16:creationId xmlns:a16="http://schemas.microsoft.com/office/drawing/2014/main" id="{13B6714C-7334-73B4-32B1-A9D50901C0A2}"/>
              </a:ext>
            </a:extLst>
          </p:cNvPr>
          <p:cNvSpPr txBox="1"/>
          <p:nvPr/>
        </p:nvSpPr>
        <p:spPr>
          <a:xfrm>
            <a:off x="5199382" y="1994635"/>
            <a:ext cx="15698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1200">
                <a:latin typeface="Gotham Rounded Medium" panose="02000000000000000000" pitchFamily="50" charset="0"/>
              </a:defRPr>
            </a:lvl1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7098A7"/>
                </a:solidFill>
                <a:effectLst/>
                <a:uLnTx/>
                <a:uFillTx/>
                <a:latin typeface="Gotham Rounded Medium" panose="02000000000000000000" pitchFamily="50" charset="0"/>
                <a:ea typeface="+mn-ea"/>
                <a:cs typeface="+mn-cs"/>
              </a:rPr>
              <a:t>ACT</a:t>
            </a:r>
          </a:p>
        </p:txBody>
      </p:sp>
      <p:pic>
        <p:nvPicPr>
          <p:cNvPr id="50" name="Picture 2" descr="Alimentation Couche-Tard - Couche-Tard Corpo">
            <a:extLst>
              <a:ext uri="{FF2B5EF4-FFF2-40B4-BE49-F238E27FC236}">
                <a16:creationId xmlns:a16="http://schemas.microsoft.com/office/drawing/2014/main" id="{9AE5B82F-0864-15C1-CC27-CCF57D15BC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5468" y="1890617"/>
            <a:ext cx="496583" cy="4965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1" name="Groupe 26">
            <a:extLst>
              <a:ext uri="{FF2B5EF4-FFF2-40B4-BE49-F238E27FC236}">
                <a16:creationId xmlns:a16="http://schemas.microsoft.com/office/drawing/2014/main" id="{ABA57B83-179D-FEA1-5125-9E1B3858FE39}"/>
              </a:ext>
            </a:extLst>
          </p:cNvPr>
          <p:cNvGrpSpPr/>
          <p:nvPr/>
        </p:nvGrpSpPr>
        <p:grpSpPr>
          <a:xfrm>
            <a:off x="2446462" y="4500323"/>
            <a:ext cx="1467130" cy="638695"/>
            <a:chOff x="2182587" y="4497089"/>
            <a:chExt cx="1467130" cy="638695"/>
          </a:xfrm>
        </p:grpSpPr>
        <p:sp>
          <p:nvSpPr>
            <p:cNvPr id="52" name="Parenthèses 8">
              <a:extLst>
                <a:ext uri="{FF2B5EF4-FFF2-40B4-BE49-F238E27FC236}">
                  <a16:creationId xmlns:a16="http://schemas.microsoft.com/office/drawing/2014/main" id="{C10E009B-8DA0-89B6-8EE0-C335390C1030}"/>
                </a:ext>
              </a:extLst>
            </p:cNvPr>
            <p:cNvSpPr/>
            <p:nvPr/>
          </p:nvSpPr>
          <p:spPr>
            <a:xfrm>
              <a:off x="2182587" y="4497089"/>
              <a:ext cx="1467130" cy="638695"/>
            </a:xfrm>
            <a:prstGeom prst="bracketPair">
              <a:avLst/>
            </a:prstGeom>
            <a:ln w="15875">
              <a:solidFill>
                <a:schemeClr val="accent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7098A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53" name="Image 21">
              <a:extLst>
                <a:ext uri="{FF2B5EF4-FFF2-40B4-BE49-F238E27FC236}">
                  <a16:creationId xmlns:a16="http://schemas.microsoft.com/office/drawing/2014/main" id="{2C4E4935-1017-5C14-96A2-C1000CC09D83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02644" y="4606369"/>
              <a:ext cx="1378012" cy="477128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4" name="ZoneTexte 28">
            <a:extLst>
              <a:ext uri="{FF2B5EF4-FFF2-40B4-BE49-F238E27FC236}">
                <a16:creationId xmlns:a16="http://schemas.microsoft.com/office/drawing/2014/main" id="{34ADA58D-306C-74EE-E753-D213EA16F946}"/>
              </a:ext>
            </a:extLst>
          </p:cNvPr>
          <p:cNvSpPr txBox="1"/>
          <p:nvPr/>
        </p:nvSpPr>
        <p:spPr>
          <a:xfrm>
            <a:off x="3256343" y="3036600"/>
            <a:ext cx="773763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1200">
                <a:latin typeface="Gotham Rounded Medium" panose="02000000000000000000" pitchFamily="50" charset="0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7098A7"/>
                </a:solidFill>
                <a:effectLst/>
                <a:uLnTx/>
                <a:uFillTx/>
                <a:latin typeface="Gotham Rounded Medium" panose="02000000000000000000" pitchFamily="50" charset="0"/>
                <a:ea typeface="+mn-ea"/>
                <a:cs typeface="+mn-cs"/>
              </a:rPr>
              <a:t>Projets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7098A7"/>
                </a:solidFill>
                <a:effectLst/>
                <a:uLnTx/>
                <a:uFillTx/>
                <a:latin typeface="Gotham Rounded Medium" panose="02000000000000000000" pitchFamily="50" charset="0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7098A7"/>
                </a:solidFill>
                <a:effectLst/>
                <a:uLnTx/>
                <a:uFillTx/>
                <a:latin typeface="Gotham Rounded Medium" panose="02000000000000000000" pitchFamily="50" charset="0"/>
                <a:ea typeface="+mn-ea"/>
                <a:cs typeface="+mn-cs"/>
              </a:rPr>
              <a:t>e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7098A7"/>
                </a:solidFill>
                <a:effectLst/>
                <a:uLnTx/>
                <a:uFillTx/>
                <a:latin typeface="Gotham Rounded Medium" panose="02000000000000000000" pitchFamily="50" charset="0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7098A7"/>
                </a:solidFill>
                <a:effectLst/>
                <a:uLnTx/>
                <a:uFillTx/>
                <a:latin typeface="Gotham Rounded Medium" panose="02000000000000000000" pitchFamily="50" charset="0"/>
                <a:ea typeface="+mn-ea"/>
                <a:cs typeface="+mn-cs"/>
              </a:rPr>
              <a:t>cour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7098A7"/>
              </a:solidFill>
              <a:effectLst/>
              <a:uLnTx/>
              <a:uFillTx/>
              <a:latin typeface="Gotham Rounded Medium" panose="02000000000000000000" pitchFamily="50" charset="0"/>
              <a:ea typeface="+mn-ea"/>
              <a:cs typeface="+mn-cs"/>
            </a:endParaRPr>
          </a:p>
        </p:txBody>
      </p:sp>
      <p:sp>
        <p:nvSpPr>
          <p:cNvPr id="55" name="Parenthèse fermante 31">
            <a:extLst>
              <a:ext uri="{FF2B5EF4-FFF2-40B4-BE49-F238E27FC236}">
                <a16:creationId xmlns:a16="http://schemas.microsoft.com/office/drawing/2014/main" id="{BD86BE8F-5CA8-BEB6-43BA-C445D6508E92}"/>
              </a:ext>
            </a:extLst>
          </p:cNvPr>
          <p:cNvSpPr/>
          <p:nvPr/>
        </p:nvSpPr>
        <p:spPr>
          <a:xfrm>
            <a:off x="5051911" y="2664078"/>
            <a:ext cx="181925" cy="811114"/>
          </a:xfrm>
          <a:prstGeom prst="rightBracket">
            <a:avLst/>
          </a:prstGeom>
          <a:ln w="15875">
            <a:gradFill>
              <a:gsLst>
                <a:gs pos="0">
                  <a:srgbClr val="09CE75"/>
                </a:gs>
                <a:gs pos="100000">
                  <a:schemeClr val="tx2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7098A7"/>
              </a:solidFill>
              <a:effectLst/>
              <a:uLnTx/>
              <a:uFillTx/>
              <a:latin typeface="Gotham Rounded Light" pitchFamily="50" charset="0"/>
              <a:ea typeface="+mn-ea"/>
              <a:cs typeface="+mn-cs"/>
            </a:endParaRPr>
          </a:p>
        </p:txBody>
      </p:sp>
      <p:cxnSp>
        <p:nvCxnSpPr>
          <p:cNvPr id="56" name="Connecteur droit 33">
            <a:extLst>
              <a:ext uri="{FF2B5EF4-FFF2-40B4-BE49-F238E27FC236}">
                <a16:creationId xmlns:a16="http://schemas.microsoft.com/office/drawing/2014/main" id="{8AA61AF8-BE4E-6AD9-C3F3-FC2E6B86950C}"/>
              </a:ext>
            </a:extLst>
          </p:cNvPr>
          <p:cNvCxnSpPr>
            <a:cxnSpLocks/>
          </p:cNvCxnSpPr>
          <p:nvPr/>
        </p:nvCxnSpPr>
        <p:spPr>
          <a:xfrm>
            <a:off x="1844687" y="4401231"/>
            <a:ext cx="3506289" cy="0"/>
          </a:xfrm>
          <a:prstGeom prst="line">
            <a:avLst/>
          </a:prstGeom>
          <a:ln w="15875">
            <a:gradFill>
              <a:gsLst>
                <a:gs pos="0">
                  <a:srgbClr val="09CE75"/>
                </a:gs>
                <a:gs pos="100000">
                  <a:schemeClr val="tx2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ZoneTexte 35">
            <a:extLst>
              <a:ext uri="{FF2B5EF4-FFF2-40B4-BE49-F238E27FC236}">
                <a16:creationId xmlns:a16="http://schemas.microsoft.com/office/drawing/2014/main" id="{A4B0B395-112A-773C-ADF0-268F68735500}"/>
              </a:ext>
            </a:extLst>
          </p:cNvPr>
          <p:cNvSpPr txBox="1"/>
          <p:nvPr/>
        </p:nvSpPr>
        <p:spPr>
          <a:xfrm>
            <a:off x="7314382" y="2009446"/>
            <a:ext cx="4687710" cy="3779758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Large charging points network across Europe</a:t>
            </a:r>
          </a:p>
          <a:p>
            <a:pPr marL="180975" indent="-180975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bg1"/>
                </a:solidFill>
              </a:rPr>
              <a:t>Contracts with 800+ CPOs</a:t>
            </a:r>
          </a:p>
          <a:p>
            <a:pPr marL="180975" indent="-180975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bg1"/>
                </a:solidFill>
              </a:rPr>
              <a:t>530k charge points available to EV drivers</a:t>
            </a:r>
          </a:p>
          <a:p>
            <a:endParaRPr lang="en-US" dirty="0">
              <a:solidFill>
                <a:schemeClr val="bg1"/>
              </a:solidFill>
            </a:endParaRPr>
          </a:p>
          <a:p>
            <a:r>
              <a:rPr lang="en-US" b="1" dirty="0" err="1">
                <a:solidFill>
                  <a:schemeClr val="bg1"/>
                </a:solidFill>
              </a:rPr>
              <a:t>Bemo</a:t>
            </a:r>
            <a:r>
              <a:rPr lang="en-US" b="1" dirty="0">
                <a:solidFill>
                  <a:schemeClr val="bg1"/>
                </a:solidFill>
              </a:rPr>
              <a:t> purchases charging sessions from CPOs to resell it (including margin) to its customer </a:t>
            </a:r>
          </a:p>
          <a:p>
            <a:pPr marL="180975" indent="-180975" algn="l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bg1"/>
                </a:solidFill>
              </a:rPr>
              <a:t>Valuation of charging sessions</a:t>
            </a:r>
          </a:p>
          <a:p>
            <a:pPr marL="180975" indent="-180975" algn="l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bg1"/>
                </a:solidFill>
              </a:rPr>
              <a:t>Application of Customer pricing policy</a:t>
            </a:r>
          </a:p>
          <a:p>
            <a:pPr marL="180975" indent="-180975" algn="l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bg1"/>
                </a:solidFill>
              </a:rPr>
              <a:t>Reconciliation of financial flows</a:t>
            </a:r>
          </a:p>
        </p:txBody>
      </p:sp>
      <p:pic>
        <p:nvPicPr>
          <p:cNvPr id="58" name="Picture 2" descr="Symboles de Madrid: blason de la ville de Madrid">
            <a:extLst>
              <a:ext uri="{FF2B5EF4-FFF2-40B4-BE49-F238E27FC236}">
                <a16:creationId xmlns:a16="http://schemas.microsoft.com/office/drawing/2014/main" id="{B8D288A7-2A63-86AA-99C2-9754AF6E1D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7685" y="3312305"/>
            <a:ext cx="312412" cy="371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242548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think-cell data - do not delete" hidden="1">
            <a:extLst>
              <a:ext uri="{FF2B5EF4-FFF2-40B4-BE49-F238E27FC236}">
                <a16:creationId xmlns:a16="http://schemas.microsoft.com/office/drawing/2014/main" id="{DD900DE2-A2C8-20B6-0889-5CA0425D77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5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D900DE2-A2C8-20B6-0889-5CA0425D77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1458C1B-13F0-BAA1-5D92-4F9FA14549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fr-FR" dirty="0"/>
              <a:t>3 main missio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EC5EB15-185A-5B7B-184C-B2B61E172CF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/>
              <a:t>About </a:t>
            </a:r>
            <a:r>
              <a:rPr lang="fr-FR" dirty="0" err="1"/>
              <a:t>Bemo</a:t>
            </a:r>
            <a:endParaRPr lang="fr-FR" dirty="0"/>
          </a:p>
        </p:txBody>
      </p:sp>
      <p:cxnSp>
        <p:nvCxnSpPr>
          <p:cNvPr id="27" name="Straight Connector 10">
            <a:extLst>
              <a:ext uri="{FF2B5EF4-FFF2-40B4-BE49-F238E27FC236}">
                <a16:creationId xmlns:a16="http://schemas.microsoft.com/office/drawing/2014/main" id="{CC082660-8759-C475-71D3-4E7532C943BD}"/>
              </a:ext>
            </a:extLst>
          </p:cNvPr>
          <p:cNvCxnSpPr>
            <a:cxnSpLocks/>
            <a:stCxn id="42" idx="4"/>
            <a:endCxn id="45" idx="0"/>
          </p:cNvCxnSpPr>
          <p:nvPr/>
        </p:nvCxnSpPr>
        <p:spPr>
          <a:xfrm>
            <a:off x="858327" y="2963242"/>
            <a:ext cx="0" cy="535653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44">
            <a:extLst>
              <a:ext uri="{FF2B5EF4-FFF2-40B4-BE49-F238E27FC236}">
                <a16:creationId xmlns:a16="http://schemas.microsoft.com/office/drawing/2014/main" id="{C4F41450-72AC-A490-D1AC-28AF73568514}"/>
              </a:ext>
            </a:extLst>
          </p:cNvPr>
          <p:cNvCxnSpPr>
            <a:cxnSpLocks/>
            <a:stCxn id="45" idx="4"/>
            <a:endCxn id="48" idx="0"/>
          </p:cNvCxnSpPr>
          <p:nvPr/>
        </p:nvCxnSpPr>
        <p:spPr>
          <a:xfrm>
            <a:off x="858327" y="4660751"/>
            <a:ext cx="0" cy="535654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" name="Group 28">
            <a:extLst>
              <a:ext uri="{FF2B5EF4-FFF2-40B4-BE49-F238E27FC236}">
                <a16:creationId xmlns:a16="http://schemas.microsoft.com/office/drawing/2014/main" id="{23F4D499-B756-B854-96EB-C0FC6A7DFAAA}"/>
              </a:ext>
            </a:extLst>
          </p:cNvPr>
          <p:cNvGrpSpPr/>
          <p:nvPr/>
        </p:nvGrpSpPr>
        <p:grpSpPr>
          <a:xfrm>
            <a:off x="1591441" y="1852137"/>
            <a:ext cx="10146438" cy="1060355"/>
            <a:chOff x="1591441" y="1400078"/>
            <a:chExt cx="10146438" cy="1060355"/>
          </a:xfrm>
        </p:grpSpPr>
        <p:sp>
          <p:nvSpPr>
            <p:cNvPr id="30" name="Rectangle 8">
              <a:extLst>
                <a:ext uri="{FF2B5EF4-FFF2-40B4-BE49-F238E27FC236}">
                  <a16:creationId xmlns:a16="http://schemas.microsoft.com/office/drawing/2014/main" id="{2F06680D-90C1-6FD5-AEE6-D84354663B6C}"/>
                </a:ext>
              </a:extLst>
            </p:cNvPr>
            <p:cNvSpPr/>
            <p:nvPr/>
          </p:nvSpPr>
          <p:spPr>
            <a:xfrm>
              <a:off x="1815916" y="1401230"/>
              <a:ext cx="9535596" cy="276999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>
                <a:lnSpc>
                  <a:spcPct val="90000"/>
                </a:lnSpc>
                <a:spcBef>
                  <a:spcPct val="0"/>
                </a:spcBef>
                <a:defRPr/>
              </a:pPr>
              <a:r>
                <a:rPr lang="en-AU" sz="2000" b="1" dirty="0">
                  <a:solidFill>
                    <a:schemeClr val="accent2"/>
                  </a:solidFill>
                  <a:latin typeface="+mj-lt"/>
                  <a:ea typeface="+mj-ea"/>
                  <a:cs typeface="+mj-cs"/>
                </a:rPr>
                <a:t>Enhance charging digital journey</a:t>
              </a:r>
            </a:p>
          </p:txBody>
        </p:sp>
        <p:sp>
          <p:nvSpPr>
            <p:cNvPr id="31" name="Rectangle 1">
              <a:extLst>
                <a:ext uri="{FF2B5EF4-FFF2-40B4-BE49-F238E27FC236}">
                  <a16:creationId xmlns:a16="http://schemas.microsoft.com/office/drawing/2014/main" id="{15DA282D-425E-9E39-867C-16FC460003F6}"/>
                </a:ext>
              </a:extLst>
            </p:cNvPr>
            <p:cNvSpPr/>
            <p:nvPr/>
          </p:nvSpPr>
          <p:spPr>
            <a:xfrm>
              <a:off x="1591441" y="1400078"/>
              <a:ext cx="10146438" cy="106035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imSun" panose="02010600030101010101" pitchFamily="2" charset="-122"/>
                <a:ea typeface="+mn-ea"/>
                <a:cs typeface="+mn-cs"/>
              </a:endParaRPr>
            </a:p>
          </p:txBody>
        </p: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572F90E2-FB07-AA2C-63D8-C7FA1946CA7B}"/>
              </a:ext>
            </a:extLst>
          </p:cNvPr>
          <p:cNvSpPr txBox="1"/>
          <p:nvPr/>
        </p:nvSpPr>
        <p:spPr>
          <a:xfrm>
            <a:off x="1695709" y="2132340"/>
            <a:ext cx="977600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AU" sz="1600" i="1" dirty="0">
                <a:solidFill>
                  <a:schemeClr val="tx1">
                    <a:lumMod val="75000"/>
                  </a:schemeClr>
                </a:solidFill>
              </a:rPr>
              <a:t>Development of features to enable a smooth customer charging experience to our MSPs EV drivers (for TE applications and others) 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0EE07464-0304-FACC-941C-31A3D0FA4086}"/>
              </a:ext>
            </a:extLst>
          </p:cNvPr>
          <p:cNvGrpSpPr/>
          <p:nvPr/>
        </p:nvGrpSpPr>
        <p:grpSpPr>
          <a:xfrm>
            <a:off x="1591441" y="3549646"/>
            <a:ext cx="10146438" cy="1060355"/>
            <a:chOff x="1591441" y="3097587"/>
            <a:chExt cx="10146438" cy="1060355"/>
          </a:xfrm>
        </p:grpSpPr>
        <p:sp>
          <p:nvSpPr>
            <p:cNvPr id="34" name="Rectangle 6">
              <a:extLst>
                <a:ext uri="{FF2B5EF4-FFF2-40B4-BE49-F238E27FC236}">
                  <a16:creationId xmlns:a16="http://schemas.microsoft.com/office/drawing/2014/main" id="{868EE983-84F8-C22C-2FA5-E858934CCEF6}"/>
                </a:ext>
              </a:extLst>
            </p:cNvPr>
            <p:cNvSpPr/>
            <p:nvPr/>
          </p:nvSpPr>
          <p:spPr>
            <a:xfrm>
              <a:off x="1815916" y="3174939"/>
              <a:ext cx="9535596" cy="276999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>
                <a:lnSpc>
                  <a:spcPct val="90000"/>
                </a:lnSpc>
                <a:spcBef>
                  <a:spcPct val="0"/>
                </a:spcBef>
                <a:defRPr/>
              </a:pPr>
              <a:r>
                <a:rPr lang="en-AU" sz="2000" b="1" dirty="0">
                  <a:solidFill>
                    <a:schemeClr val="accent2"/>
                  </a:solidFill>
                  <a:latin typeface="+mj-lt"/>
                  <a:ea typeface="+mj-ea"/>
                  <a:cs typeface="+mj-cs"/>
                </a:rPr>
                <a:t>Ensure EV charging session operation from end to end </a:t>
              </a:r>
            </a:p>
          </p:txBody>
        </p:sp>
        <p:sp>
          <p:nvSpPr>
            <p:cNvPr id="35" name="Rectangle 22">
              <a:extLst>
                <a:ext uri="{FF2B5EF4-FFF2-40B4-BE49-F238E27FC236}">
                  <a16:creationId xmlns:a16="http://schemas.microsoft.com/office/drawing/2014/main" id="{635EBF77-67AB-9D06-9987-F8165F46DC91}"/>
                </a:ext>
              </a:extLst>
            </p:cNvPr>
            <p:cNvSpPr/>
            <p:nvPr/>
          </p:nvSpPr>
          <p:spPr>
            <a:xfrm>
              <a:off x="1591441" y="3097587"/>
              <a:ext cx="10146438" cy="106035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imSun" panose="02010600030101010101" pitchFamily="2" charset="-122"/>
                <a:ea typeface="+mn-ea"/>
                <a:cs typeface="+mn-cs"/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40B23583-199C-DEDD-EDF9-42098418800E}"/>
                </a:ext>
              </a:extLst>
            </p:cNvPr>
            <p:cNvSpPr txBox="1"/>
            <p:nvPr/>
          </p:nvSpPr>
          <p:spPr>
            <a:xfrm>
              <a:off x="1695709" y="3392099"/>
              <a:ext cx="9776009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AU" sz="1600" i="1" dirty="0">
                  <a:solidFill>
                    <a:schemeClr val="tx1">
                      <a:lumMod val="75000"/>
                    </a:schemeClr>
                  </a:solidFill>
                </a:rPr>
                <a:t>Integration of 3</a:t>
              </a:r>
              <a:r>
                <a:rPr lang="en-AU" sz="1600" i="1" baseline="30000" dirty="0">
                  <a:solidFill>
                    <a:schemeClr val="tx1">
                      <a:lumMod val="75000"/>
                    </a:schemeClr>
                  </a:solidFill>
                </a:rPr>
                <a:t>rd</a:t>
              </a:r>
              <a:r>
                <a:rPr lang="en-AU" sz="1600" i="1" dirty="0">
                  <a:solidFill>
                    <a:schemeClr val="tx1">
                      <a:lumMod val="75000"/>
                    </a:schemeClr>
                  </a:solidFill>
                </a:rPr>
                <a:t> party CPOs to increase charging point footprint. </a:t>
              </a:r>
            </a:p>
            <a:p>
              <a:pPr algn="l"/>
              <a:r>
                <a:rPr lang="en-AU" sz="1600" i="1" dirty="0">
                  <a:solidFill>
                    <a:schemeClr val="tx1">
                      <a:lumMod val="75000"/>
                    </a:schemeClr>
                  </a:solidFill>
                </a:rPr>
                <a:t>Valuation, sanity checks and claims towards CPOs to ensure accuracy of EV transactions  </a:t>
              </a: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8E2D9A54-6485-3F04-4035-77F2D80E2A6B}"/>
              </a:ext>
            </a:extLst>
          </p:cNvPr>
          <p:cNvGrpSpPr/>
          <p:nvPr/>
        </p:nvGrpSpPr>
        <p:grpSpPr>
          <a:xfrm>
            <a:off x="1591441" y="5247156"/>
            <a:ext cx="10146438" cy="1060355"/>
            <a:chOff x="1591441" y="4795097"/>
            <a:chExt cx="10146438" cy="1060355"/>
          </a:xfrm>
        </p:grpSpPr>
        <p:sp>
          <p:nvSpPr>
            <p:cNvPr id="38" name="Rectangle 4">
              <a:extLst>
                <a:ext uri="{FF2B5EF4-FFF2-40B4-BE49-F238E27FC236}">
                  <a16:creationId xmlns:a16="http://schemas.microsoft.com/office/drawing/2014/main" id="{12DA8EBC-1930-5ADC-4BCC-8012995845EC}"/>
                </a:ext>
              </a:extLst>
            </p:cNvPr>
            <p:cNvSpPr/>
            <p:nvPr/>
          </p:nvSpPr>
          <p:spPr>
            <a:xfrm>
              <a:off x="1815916" y="4798670"/>
              <a:ext cx="9535596" cy="276999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>
                <a:lnSpc>
                  <a:spcPct val="90000"/>
                </a:lnSpc>
                <a:spcBef>
                  <a:spcPct val="0"/>
                </a:spcBef>
                <a:defRPr/>
              </a:pPr>
              <a:r>
                <a:rPr lang="en-AU" sz="2000" b="1" dirty="0">
                  <a:solidFill>
                    <a:schemeClr val="accent2"/>
                  </a:solidFill>
                  <a:latin typeface="+mj-lt"/>
                  <a:ea typeface="+mj-ea"/>
                  <a:cs typeface="+mj-cs"/>
                </a:rPr>
                <a:t>Consolidate, improve and enrich data 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DC6855C4-ED97-F9C8-95C8-F9FBF8C61FED}"/>
                </a:ext>
              </a:extLst>
            </p:cNvPr>
            <p:cNvSpPr/>
            <p:nvPr/>
          </p:nvSpPr>
          <p:spPr>
            <a:xfrm>
              <a:off x="1591441" y="4795097"/>
              <a:ext cx="10146438" cy="106035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imSun" panose="02010600030101010101" pitchFamily="2" charset="-122"/>
                <a:ea typeface="+mn-ea"/>
                <a:cs typeface="+mn-cs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32EDDA11-A817-0CA1-42F6-F82FE5EEC165}"/>
                </a:ext>
              </a:extLst>
            </p:cNvPr>
            <p:cNvSpPr txBox="1"/>
            <p:nvPr/>
          </p:nvSpPr>
          <p:spPr>
            <a:xfrm>
              <a:off x="1695709" y="5024359"/>
              <a:ext cx="9776009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AU" sz="1600" i="1" dirty="0">
                  <a:solidFill>
                    <a:schemeClr val="tx1">
                      <a:lumMod val="75000"/>
                    </a:schemeClr>
                  </a:solidFill>
                </a:rPr>
                <a:t>Consolidation of CPOs data from various formats, improvement of data quality and enrichment of POIs information (accessibility, market-intelligence)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F46D7AEB-DA9B-A701-9764-F5C51A81B5B4}"/>
              </a:ext>
            </a:extLst>
          </p:cNvPr>
          <p:cNvGrpSpPr/>
          <p:nvPr/>
        </p:nvGrpSpPr>
        <p:grpSpPr>
          <a:xfrm>
            <a:off x="277399" y="1801386"/>
            <a:ext cx="1161856" cy="1161856"/>
            <a:chOff x="277399" y="1349327"/>
            <a:chExt cx="1161856" cy="1161856"/>
          </a:xfrm>
        </p:grpSpPr>
        <p:sp>
          <p:nvSpPr>
            <p:cNvPr id="42" name="Oval 9">
              <a:extLst>
                <a:ext uri="{FF2B5EF4-FFF2-40B4-BE49-F238E27FC236}">
                  <a16:creationId xmlns:a16="http://schemas.microsoft.com/office/drawing/2014/main" id="{6D381EF5-B0D2-1CF8-9078-DD6D151D7F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7399" y="1349327"/>
              <a:ext cx="1161856" cy="1161856"/>
            </a:xfrm>
            <a:prstGeom prst="ellipse">
              <a:avLst/>
            </a:prstGeom>
            <a:noFill/>
            <a:ln w="57150" cap="rnd">
              <a:solidFill>
                <a:schemeClr val="accent2"/>
              </a:solidFill>
              <a:prstDash val="solid"/>
              <a:miter lim="800000"/>
              <a:headEnd type="none" w="sm" len="sm"/>
              <a:tailEnd type="none"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0" i="0" u="none" strike="noStrike" kern="1200" cap="none" spc="0" normalizeH="0" baseline="0">
                  <a:ln>
                    <a:noFill/>
                  </a:ln>
                  <a:effectLst/>
                  <a:uLnTx/>
                  <a:uFillTx/>
                  <a:latin typeface="SimSun" panose="02010600030101010101" pitchFamily="2" charset="-122"/>
                  <a:ea typeface="+mn-ea"/>
                  <a:cs typeface="Gotham Medium" pitchFamily="2" charset="0"/>
                </a:rPr>
                <a:t> </a:t>
              </a:r>
            </a:p>
          </p:txBody>
        </p:sp>
        <p:pic>
          <p:nvPicPr>
            <p:cNvPr id="43" name="Picture 4" descr="Rating">
              <a:extLst>
                <a:ext uri="{FF2B5EF4-FFF2-40B4-BE49-F238E27FC236}">
                  <a16:creationId xmlns:a16="http://schemas.microsoft.com/office/drawing/2014/main" id="{1470E323-6EA4-D1A6-5FD9-F222B113550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3091" y="1555019"/>
              <a:ext cx="750473" cy="7504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88864E44-1FE7-AB8D-7A36-622050D9E81D}"/>
              </a:ext>
            </a:extLst>
          </p:cNvPr>
          <p:cNvGrpSpPr/>
          <p:nvPr/>
        </p:nvGrpSpPr>
        <p:grpSpPr>
          <a:xfrm>
            <a:off x="277399" y="3498895"/>
            <a:ext cx="1161856" cy="1161856"/>
            <a:chOff x="277399" y="3046836"/>
            <a:chExt cx="1161856" cy="1161856"/>
          </a:xfrm>
        </p:grpSpPr>
        <p:sp>
          <p:nvSpPr>
            <p:cNvPr id="45" name="Oval 9">
              <a:extLst>
                <a:ext uri="{FF2B5EF4-FFF2-40B4-BE49-F238E27FC236}">
                  <a16:creationId xmlns:a16="http://schemas.microsoft.com/office/drawing/2014/main" id="{F8DE6A32-11AA-F133-129B-050B234E5A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7399" y="3046836"/>
              <a:ext cx="1161856" cy="1161856"/>
            </a:xfrm>
            <a:prstGeom prst="ellipse">
              <a:avLst/>
            </a:prstGeom>
            <a:noFill/>
            <a:ln w="57150" cap="rnd">
              <a:solidFill>
                <a:schemeClr val="accent2"/>
              </a:solidFill>
              <a:prstDash val="solid"/>
              <a:miter lim="800000"/>
              <a:headEnd type="none" w="sm" len="sm"/>
              <a:tailEnd type="none"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0" i="0" u="none" strike="noStrike" kern="1200" cap="none" spc="0" normalizeH="0" baseline="0">
                  <a:ln>
                    <a:noFill/>
                  </a:ln>
                  <a:effectLst/>
                  <a:uLnTx/>
                  <a:uFillTx/>
                  <a:latin typeface="SimSun" panose="02010600030101010101" pitchFamily="2" charset="-122"/>
                  <a:ea typeface="+mn-ea"/>
                  <a:cs typeface="Gotham Medium" pitchFamily="2" charset="0"/>
                </a:rPr>
                <a:t> </a:t>
              </a:r>
            </a:p>
          </p:txBody>
        </p:sp>
        <p:pic>
          <p:nvPicPr>
            <p:cNvPr id="46" name="Picture 6" descr="Gear ">
              <a:extLst>
                <a:ext uri="{FF2B5EF4-FFF2-40B4-BE49-F238E27FC236}">
                  <a16:creationId xmlns:a16="http://schemas.microsoft.com/office/drawing/2014/main" id="{A32B3FDF-514F-52A8-47AE-369045C8CC6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7246" y="3306683"/>
              <a:ext cx="642162" cy="6421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6A892B08-8DD7-1E5A-338F-431ABDAC787E}"/>
              </a:ext>
            </a:extLst>
          </p:cNvPr>
          <p:cNvGrpSpPr/>
          <p:nvPr/>
        </p:nvGrpSpPr>
        <p:grpSpPr>
          <a:xfrm>
            <a:off x="277399" y="5196405"/>
            <a:ext cx="1161856" cy="1161856"/>
            <a:chOff x="277399" y="4744346"/>
            <a:chExt cx="1161856" cy="1161856"/>
          </a:xfrm>
        </p:grpSpPr>
        <p:sp>
          <p:nvSpPr>
            <p:cNvPr id="48" name="Oval 9">
              <a:extLst>
                <a:ext uri="{FF2B5EF4-FFF2-40B4-BE49-F238E27FC236}">
                  <a16:creationId xmlns:a16="http://schemas.microsoft.com/office/drawing/2014/main" id="{6E1D39B7-B3BF-07CC-721C-DC114728EF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7399" y="4744346"/>
              <a:ext cx="1161856" cy="1161856"/>
            </a:xfrm>
            <a:prstGeom prst="ellipse">
              <a:avLst/>
            </a:prstGeom>
            <a:noFill/>
            <a:ln w="57150" cap="rnd">
              <a:solidFill>
                <a:schemeClr val="accent2"/>
              </a:solidFill>
              <a:prstDash val="solid"/>
              <a:miter lim="800000"/>
              <a:headEnd type="none" w="sm" len="sm"/>
              <a:tailEnd type="none"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0" i="0" u="none" strike="noStrike" kern="1200" cap="none" spc="0" normalizeH="0" baseline="0">
                  <a:ln>
                    <a:noFill/>
                  </a:ln>
                  <a:effectLst/>
                  <a:uLnTx/>
                  <a:uFillTx/>
                  <a:latin typeface="SimSun" panose="02010600030101010101" pitchFamily="2" charset="-122"/>
                  <a:ea typeface="+mn-ea"/>
                  <a:cs typeface="Gotham Medium" pitchFamily="2" charset="0"/>
                </a:rPr>
                <a:t> </a:t>
              </a:r>
            </a:p>
          </p:txBody>
        </p:sp>
        <p:pic>
          <p:nvPicPr>
            <p:cNvPr id="49" name="Picture 8" descr="Data analysis ">
              <a:extLst>
                <a:ext uri="{FF2B5EF4-FFF2-40B4-BE49-F238E27FC236}">
                  <a16:creationId xmlns:a16="http://schemas.microsoft.com/office/drawing/2014/main" id="{E910DC46-3632-F689-CE8D-BACE1D702BC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4963" y="4991910"/>
              <a:ext cx="666729" cy="6667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8795055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52B8373-62D1-544B-7A5C-41B622D6A3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869" y="302393"/>
            <a:ext cx="9799980" cy="649922"/>
          </a:xfrm>
        </p:spPr>
        <p:txBody>
          <a:bodyPr/>
          <a:lstStyle/>
          <a:p>
            <a:r>
              <a:rPr lang="fr-FR" dirty="0"/>
              <a:t>Project </a:t>
            </a:r>
            <a:r>
              <a:rPr lang="fr-FR" dirty="0" err="1"/>
              <a:t>overview</a:t>
            </a:r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30F12B2-8A30-D6A2-6AC7-ABAE7B02E28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891" y="2449374"/>
            <a:ext cx="11353802" cy="383506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dirty="0">
                <a:ea typeface="Calibri" panose="020F0502020204030204" pitchFamily="34" charset="0"/>
              </a:rPr>
              <a:t>This CRM </a:t>
            </a:r>
            <a:r>
              <a:rPr lang="fr-FR" b="1" dirty="0" err="1">
                <a:ea typeface="Calibri" panose="020F0502020204030204" pitchFamily="34" charset="0"/>
              </a:rPr>
              <a:t>project</a:t>
            </a:r>
            <a:r>
              <a:rPr lang="fr-FR" b="1" dirty="0">
                <a:ea typeface="Calibri" panose="020F0502020204030204" pitchFamily="34" charset="0"/>
              </a:rPr>
              <a:t> </a:t>
            </a:r>
            <a:r>
              <a:rPr lang="fr-FR" b="1" dirty="0" err="1">
                <a:ea typeface="Calibri" panose="020F0502020204030204" pitchFamily="34" charset="0"/>
              </a:rPr>
              <a:t>aims</a:t>
            </a:r>
            <a:r>
              <a:rPr lang="fr-FR" b="1" dirty="0">
                <a:ea typeface="Calibri" panose="020F0502020204030204" pitchFamily="34" charset="0"/>
              </a:rPr>
              <a:t> at </a:t>
            </a:r>
            <a:r>
              <a:rPr lang="fr-FR" b="1" dirty="0" err="1">
                <a:ea typeface="Calibri" panose="020F0502020204030204" pitchFamily="34" charset="0"/>
              </a:rPr>
              <a:t>better</a:t>
            </a:r>
            <a:r>
              <a:rPr lang="fr-FR" b="1" dirty="0">
                <a:ea typeface="Calibri" panose="020F0502020204030204" pitchFamily="34" charset="0"/>
              </a:rPr>
              <a:t> </a:t>
            </a:r>
            <a:r>
              <a:rPr lang="fr-FR" b="1" dirty="0" err="1">
                <a:ea typeface="Calibri" panose="020F0502020204030204" pitchFamily="34" charset="0"/>
              </a:rPr>
              <a:t>assessing</a:t>
            </a:r>
            <a:r>
              <a:rPr lang="fr-FR" b="1" dirty="0">
                <a:ea typeface="Calibri" panose="020F0502020204030204" pitchFamily="34" charset="0"/>
              </a:rPr>
              <a:t> the data-</a:t>
            </a:r>
            <a:r>
              <a:rPr lang="fr-FR" b="1" dirty="0" err="1">
                <a:ea typeface="Calibri" panose="020F0502020204030204" pitchFamily="34" charset="0"/>
              </a:rPr>
              <a:t>financial</a:t>
            </a:r>
            <a:r>
              <a:rPr lang="fr-FR" b="1" dirty="0">
                <a:ea typeface="Calibri" panose="020F0502020204030204" pitchFamily="34" charset="0"/>
              </a:rPr>
              <a:t> </a:t>
            </a:r>
            <a:r>
              <a:rPr lang="fr-FR" b="1" dirty="0" err="1">
                <a:ea typeface="Calibri" panose="020F0502020204030204" pitchFamily="34" charset="0"/>
              </a:rPr>
              <a:t>link</a:t>
            </a:r>
            <a:r>
              <a:rPr lang="fr-FR" b="1" dirty="0">
                <a:ea typeface="Calibri" panose="020F0502020204030204" pitchFamily="34" charset="0"/>
              </a:rPr>
              <a:t> </a:t>
            </a:r>
            <a:r>
              <a:rPr lang="fr-FR" b="1" dirty="0" err="1">
                <a:ea typeface="Calibri" panose="020F0502020204030204" pitchFamily="34" charset="0"/>
              </a:rPr>
              <a:t>between</a:t>
            </a:r>
            <a:r>
              <a:rPr lang="fr-FR" b="1" dirty="0">
                <a:ea typeface="Calibri" panose="020F0502020204030204" pitchFamily="34" charset="0"/>
              </a:rPr>
              <a:t> </a:t>
            </a:r>
            <a:r>
              <a:rPr lang="fr-FR" b="1" dirty="0" err="1">
                <a:ea typeface="Calibri" panose="020F0502020204030204" pitchFamily="34" charset="0"/>
              </a:rPr>
              <a:t>Bemo</a:t>
            </a:r>
            <a:r>
              <a:rPr lang="fr-FR" b="1" dirty="0">
                <a:ea typeface="Calibri" panose="020F0502020204030204" pitchFamily="34" charset="0"/>
              </a:rPr>
              <a:t> and </a:t>
            </a:r>
            <a:r>
              <a:rPr lang="fr-FR" b="1" dirty="0" err="1">
                <a:ea typeface="Calibri" panose="020F0502020204030204" pitchFamily="34" charset="0"/>
              </a:rPr>
              <a:t>CPOs</a:t>
            </a:r>
            <a:r>
              <a:rPr lang="fr-FR" b="1" dirty="0">
                <a:ea typeface="Calibri" panose="020F0502020204030204" pitchFamily="34" charset="0"/>
              </a:rPr>
              <a:t>.</a:t>
            </a:r>
          </a:p>
          <a:p>
            <a:endParaRPr lang="fr-FR" dirty="0">
              <a:ea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dirty="0">
                <a:ea typeface="Calibri" panose="020F0502020204030204" pitchFamily="34" charset="0"/>
              </a:rPr>
              <a:t>Link </a:t>
            </a:r>
            <a:r>
              <a:rPr lang="fr-FR" b="1" dirty="0" err="1">
                <a:ea typeface="Calibri" panose="020F0502020204030204" pitchFamily="34" charset="0"/>
              </a:rPr>
              <a:t>Bemo</a:t>
            </a:r>
            <a:r>
              <a:rPr lang="fr-FR" b="1" dirty="0">
                <a:ea typeface="Calibri" panose="020F0502020204030204" pitchFamily="34" charset="0"/>
              </a:rPr>
              <a:t>-CPO</a:t>
            </a:r>
            <a:r>
              <a:rPr lang="fr-FR" dirty="0">
                <a:ea typeface="Calibri" panose="020F0502020204030204" pitchFamily="34" charset="0"/>
              </a:rPr>
              <a:t> 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dirty="0" err="1">
                <a:ea typeface="Calibri" panose="020F0502020204030204" pitchFamily="34" charset="0"/>
              </a:rPr>
              <a:t>Lack</a:t>
            </a:r>
            <a:r>
              <a:rPr lang="fr-FR" dirty="0">
                <a:ea typeface="Calibri" panose="020F0502020204030204" pitchFamily="34" charset="0"/>
              </a:rPr>
              <a:t> of</a:t>
            </a:r>
            <a:r>
              <a:rPr lang="fr-FR" b="1" dirty="0">
                <a:ea typeface="Calibri" panose="020F0502020204030204" pitchFamily="34" charset="0"/>
              </a:rPr>
              <a:t> CPO </a:t>
            </a:r>
            <a:r>
              <a:rPr lang="fr-FR" b="1" dirty="0" err="1">
                <a:ea typeface="Calibri" panose="020F0502020204030204" pitchFamily="34" charset="0"/>
              </a:rPr>
              <a:t>pricing</a:t>
            </a:r>
            <a:r>
              <a:rPr lang="fr-FR" b="1" dirty="0">
                <a:ea typeface="Calibri" panose="020F0502020204030204" pitchFamily="34" charset="0"/>
              </a:rPr>
              <a:t> </a:t>
            </a:r>
            <a:r>
              <a:rPr lang="fr-FR" b="1" dirty="0" err="1">
                <a:ea typeface="Calibri" panose="020F0502020204030204" pitchFamily="34" charset="0"/>
              </a:rPr>
              <a:t>policy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b="1" dirty="0" err="1">
                <a:ea typeface="Calibri" panose="020F0502020204030204" pitchFamily="34" charset="0"/>
              </a:rPr>
              <a:t>understanding</a:t>
            </a:r>
            <a:r>
              <a:rPr lang="fr-FR" b="1" dirty="0">
                <a:ea typeface="Calibri" panose="020F0502020204030204" pitchFamily="34" charset="0"/>
              </a:rPr>
              <a:t>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dirty="0" err="1">
                <a:ea typeface="Calibri" panose="020F0502020204030204" pitchFamily="34" charset="0"/>
              </a:rPr>
              <a:t>Lack</a:t>
            </a:r>
            <a:r>
              <a:rPr lang="fr-FR" dirty="0">
                <a:ea typeface="Calibri" panose="020F0502020204030204" pitchFamily="34" charset="0"/>
              </a:rPr>
              <a:t> of </a:t>
            </a:r>
            <a:r>
              <a:rPr lang="fr-FR" dirty="0" err="1">
                <a:ea typeface="Calibri" panose="020F0502020204030204" pitchFamily="34" charset="0"/>
              </a:rPr>
              <a:t>deep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b="1" dirty="0" err="1">
                <a:ea typeface="Calibri" panose="020F0502020204030204" pitchFamily="34" charset="0"/>
              </a:rPr>
              <a:t>understanding</a:t>
            </a:r>
            <a:r>
              <a:rPr lang="fr-FR" b="1" dirty="0">
                <a:ea typeface="Calibri" panose="020F0502020204030204" pitchFamily="34" charset="0"/>
              </a:rPr>
              <a:t> of </a:t>
            </a:r>
            <a:r>
              <a:rPr lang="fr-FR" b="1" dirty="0" err="1">
                <a:ea typeface="Calibri" panose="020F0502020204030204" pitchFamily="34" charset="0"/>
              </a:rPr>
              <a:t>price</a:t>
            </a:r>
            <a:r>
              <a:rPr lang="fr-FR" b="1" dirty="0">
                <a:ea typeface="Calibri" panose="020F0502020204030204" pitchFamily="34" charset="0"/>
              </a:rPr>
              <a:t> </a:t>
            </a:r>
            <a:r>
              <a:rPr lang="fr-FR" b="1" dirty="0" err="1">
                <a:ea typeface="Calibri" panose="020F0502020204030204" pitchFamily="34" charset="0"/>
              </a:rPr>
              <a:t>factors</a:t>
            </a:r>
            <a:r>
              <a:rPr lang="fr-FR" b="1" dirty="0">
                <a:ea typeface="Calibri" panose="020F0502020204030204" pitchFamily="34" charset="0"/>
              </a:rPr>
              <a:t> </a:t>
            </a:r>
            <a:r>
              <a:rPr lang="fr-FR" dirty="0">
                <a:ea typeface="Calibri" panose="020F0502020204030204" pitchFamily="34" charset="0"/>
              </a:rPr>
              <a:t>for transactions </a:t>
            </a:r>
            <a:r>
              <a:rPr lang="fr-FR" dirty="0" err="1">
                <a:ea typeface="Calibri" panose="020F0502020204030204" pitchFamily="34" charset="0"/>
              </a:rPr>
              <a:t>done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through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Bemo</a:t>
            </a:r>
            <a:endParaRPr lang="fr-FR" b="1" dirty="0">
              <a:ea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fr-FR" b="1" dirty="0">
              <a:ea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dirty="0">
                <a:ea typeface="Calibri" panose="020F0502020204030204" pitchFamily="34" charset="0"/>
              </a:rPr>
              <a:t>Basic </a:t>
            </a:r>
            <a:r>
              <a:rPr lang="fr-FR" dirty="0" err="1">
                <a:ea typeface="Calibri" panose="020F0502020204030204" pitchFamily="34" charset="0"/>
              </a:rPr>
              <a:t>estimators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computed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overall</a:t>
            </a:r>
            <a:r>
              <a:rPr lang="fr-FR" dirty="0">
                <a:ea typeface="Calibri" panose="020F0502020204030204" pitchFamily="34" charset="0"/>
              </a:rPr>
              <a:t> : quartiles, </a:t>
            </a:r>
            <a:r>
              <a:rPr lang="fr-FR" dirty="0" err="1">
                <a:ea typeface="Calibri" panose="020F0502020204030204" pitchFamily="34" charset="0"/>
              </a:rPr>
              <a:t>median</a:t>
            </a:r>
            <a:r>
              <a:rPr lang="fr-FR" dirty="0">
                <a:ea typeface="Calibri" panose="020F0502020204030204" pitchFamily="34" charset="0"/>
              </a:rPr>
              <a:t>…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dirty="0">
                <a:ea typeface="Calibri" panose="020F0502020204030204" pitchFamily="34" charset="0"/>
              </a:rPr>
              <a:t>Need for more </a:t>
            </a:r>
            <a:r>
              <a:rPr lang="fr-FR" dirty="0" err="1">
                <a:ea typeface="Calibri" panose="020F0502020204030204" pitchFamily="34" charset="0"/>
              </a:rPr>
              <a:t>precise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factors</a:t>
            </a:r>
            <a:r>
              <a:rPr lang="fr-FR" dirty="0">
                <a:ea typeface="Calibri" panose="020F0502020204030204" pitchFamily="34" charset="0"/>
              </a:rPr>
              <a:t> for CPO </a:t>
            </a:r>
            <a:r>
              <a:rPr lang="fr-FR" dirty="0" err="1">
                <a:ea typeface="Calibri" panose="020F0502020204030204" pitchFamily="34" charset="0"/>
              </a:rPr>
              <a:t>price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considering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available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parameters</a:t>
            </a:r>
            <a:r>
              <a:rPr lang="fr-FR" dirty="0">
                <a:ea typeface="Calibri" panose="020F0502020204030204" pitchFamily="34" charset="0"/>
              </a:rPr>
              <a:t> : duration, </a:t>
            </a:r>
            <a:r>
              <a:rPr lang="fr-FR" dirty="0" err="1">
                <a:ea typeface="Calibri" panose="020F0502020204030204" pitchFamily="34" charset="0"/>
              </a:rPr>
              <a:t>consumed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energy</a:t>
            </a:r>
            <a:r>
              <a:rPr lang="fr-FR" dirty="0">
                <a:ea typeface="Calibri" panose="020F0502020204030204" pitchFamily="34" charset="0"/>
              </a:rPr>
              <a:t>, power, start time, locations, </a:t>
            </a:r>
            <a:r>
              <a:rPr lang="fr-FR" dirty="0" err="1">
                <a:ea typeface="Calibri" panose="020F0502020204030204" pitchFamily="34" charset="0"/>
              </a:rPr>
              <a:t>price</a:t>
            </a:r>
            <a:r>
              <a:rPr lang="fr-FR" dirty="0">
                <a:ea typeface="Calibri" panose="020F0502020204030204" pitchFamily="34" charset="0"/>
              </a:rPr>
              <a:t>, </a:t>
            </a:r>
            <a:r>
              <a:rPr lang="fr-FR" dirty="0" err="1">
                <a:ea typeface="Calibri" panose="020F0502020204030204" pitchFamily="34" charset="0"/>
              </a:rPr>
              <a:t>consumers</a:t>
            </a:r>
            <a:r>
              <a:rPr lang="fr-FR" dirty="0">
                <a:ea typeface="Calibri" panose="020F0502020204030204" pitchFamily="34" charset="0"/>
              </a:rPr>
              <a:t> habits…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dirty="0" err="1">
                <a:ea typeface="Calibri" panose="020F0502020204030204" pitchFamily="34" charset="0"/>
              </a:rPr>
              <a:t>Accuracy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assessment</a:t>
            </a:r>
            <a:r>
              <a:rPr lang="fr-FR" dirty="0">
                <a:ea typeface="Calibri" panose="020F0502020204030204" pitchFamily="34" charset="0"/>
              </a:rPr>
              <a:t> of </a:t>
            </a:r>
            <a:r>
              <a:rPr lang="fr-FR" dirty="0" err="1">
                <a:ea typeface="Calibri" panose="020F0502020204030204" pitchFamily="34" charset="0"/>
              </a:rPr>
              <a:t>Bemo</a:t>
            </a:r>
            <a:r>
              <a:rPr lang="fr-FR" dirty="0">
                <a:ea typeface="Calibri" panose="020F0502020204030204" pitchFamily="34" charset="0"/>
              </a:rPr>
              <a:t> valuation vs CPO </a:t>
            </a:r>
            <a:r>
              <a:rPr lang="fr-FR" dirty="0" err="1">
                <a:ea typeface="Calibri" panose="020F0502020204030204" pitchFamily="34" charset="0"/>
              </a:rPr>
              <a:t>price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using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Bemo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pricer</a:t>
            </a:r>
            <a:endParaRPr lang="fr-FR" dirty="0">
              <a:ea typeface="Calibri" panose="020F0502020204030204" pitchFamily="34" charset="0"/>
            </a:endParaRPr>
          </a:p>
          <a:p>
            <a:pPr lvl="1"/>
            <a:endParaRPr lang="fr-FR" b="1" dirty="0">
              <a:ea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dirty="0" err="1">
                <a:ea typeface="Calibri" panose="020F0502020204030204" pitchFamily="34" charset="0"/>
              </a:rPr>
              <a:t>Charging</a:t>
            </a:r>
            <a:r>
              <a:rPr lang="fr-FR" dirty="0">
                <a:ea typeface="Calibri" panose="020F0502020204030204" pitchFamily="34" charset="0"/>
              </a:rPr>
              <a:t> point </a:t>
            </a:r>
            <a:r>
              <a:rPr lang="fr-FR" dirty="0" err="1">
                <a:ea typeface="Calibri" panose="020F0502020204030204" pitchFamily="34" charset="0"/>
              </a:rPr>
              <a:t>operators</a:t>
            </a:r>
            <a:r>
              <a:rPr lang="fr-FR" dirty="0">
                <a:ea typeface="Calibri" panose="020F0502020204030204" pitchFamily="34" charset="0"/>
              </a:rPr>
              <a:t> manage </a:t>
            </a:r>
            <a:r>
              <a:rPr lang="fr-FR" dirty="0" err="1">
                <a:ea typeface="Calibri" panose="020F0502020204030204" pitchFamily="34" charset="0"/>
              </a:rPr>
              <a:t>their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pricing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policies</a:t>
            </a:r>
            <a:r>
              <a:rPr lang="fr-FR" dirty="0">
                <a:ea typeface="Calibri" panose="020F0502020204030204" pitchFamily="34" charset="0"/>
              </a:rPr>
              <a:t> in a </a:t>
            </a:r>
            <a:r>
              <a:rPr lang="fr-FR" dirty="0" err="1">
                <a:ea typeface="Calibri" panose="020F0502020204030204" pitchFamily="34" charset="0"/>
              </a:rPr>
              <a:t>dynamic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way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with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complex</a:t>
            </a:r>
            <a:r>
              <a:rPr lang="fr-FR" dirty="0">
                <a:ea typeface="Calibri" panose="020F0502020204030204" pitchFamily="34" charset="0"/>
              </a:rPr>
              <a:t> formula, fast and </a:t>
            </a:r>
            <a:r>
              <a:rPr lang="fr-FR" dirty="0" err="1">
                <a:ea typeface="Calibri" panose="020F0502020204030204" pitchFamily="34" charset="0"/>
              </a:rPr>
              <a:t>frequent</a:t>
            </a:r>
            <a:r>
              <a:rPr lang="fr-FR" dirty="0">
                <a:ea typeface="Calibri" panose="020F0502020204030204" pitchFamily="34" charset="0"/>
              </a:rPr>
              <a:t> updates </a:t>
            </a:r>
            <a:r>
              <a:rPr lang="fr-FR" dirty="0" err="1">
                <a:ea typeface="Calibri" panose="020F0502020204030204" pitchFamily="34" charset="0"/>
              </a:rPr>
              <a:t>without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alerting</a:t>
            </a:r>
            <a:r>
              <a:rPr lang="fr-FR" dirty="0">
                <a:ea typeface="Calibri" panose="020F0502020204030204" pitchFamily="34" charset="0"/>
              </a:rPr>
              <a:t>…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dirty="0" err="1">
                <a:ea typeface="Calibri" panose="020F0502020204030204" pitchFamily="34" charset="0"/>
              </a:rPr>
              <a:t>Tricky</a:t>
            </a:r>
            <a:r>
              <a:rPr lang="fr-FR" dirty="0">
                <a:ea typeface="Calibri" panose="020F0502020204030204" pitchFamily="34" charset="0"/>
              </a:rPr>
              <a:t> to follow for </a:t>
            </a:r>
            <a:r>
              <a:rPr lang="fr-FR" dirty="0" err="1">
                <a:ea typeface="Calibri" panose="020F0502020204030204" pitchFamily="34" charset="0"/>
              </a:rPr>
              <a:t>Bemo</a:t>
            </a:r>
            <a:r>
              <a:rPr lang="fr-FR" dirty="0">
                <a:ea typeface="Calibri" panose="020F0502020204030204" pitchFamily="34" charset="0"/>
              </a:rPr>
              <a:t> as a MSP enabler : </a:t>
            </a:r>
            <a:r>
              <a:rPr lang="fr-FR" dirty="0" err="1">
                <a:ea typeface="Calibri" panose="020F0502020204030204" pitchFamily="34" charset="0"/>
              </a:rPr>
              <a:t>strategic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leverage</a:t>
            </a:r>
            <a:r>
              <a:rPr lang="fr-FR" dirty="0">
                <a:ea typeface="Calibri" panose="020F0502020204030204" pitchFamily="34" charset="0"/>
              </a:rPr>
              <a:t> to chang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dirty="0">
                <a:ea typeface="Calibri" panose="020F0502020204030204" pitchFamily="34" charset="0"/>
              </a:rPr>
              <a:t>Need for more </a:t>
            </a:r>
            <a:r>
              <a:rPr lang="fr-FR" dirty="0" err="1">
                <a:ea typeface="Calibri" panose="020F0502020204030204" pitchFamily="34" charset="0"/>
              </a:rPr>
              <a:t>precise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overview</a:t>
            </a:r>
            <a:r>
              <a:rPr lang="fr-FR" dirty="0">
                <a:ea typeface="Calibri" panose="020F0502020204030204" pitchFamily="34" charset="0"/>
              </a:rPr>
              <a:t> of </a:t>
            </a:r>
            <a:r>
              <a:rPr lang="fr-FR" dirty="0" err="1">
                <a:ea typeface="Calibri" panose="020F0502020204030204" pitchFamily="34" charset="0"/>
              </a:rPr>
              <a:t>this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policy</a:t>
            </a:r>
            <a:r>
              <a:rPr lang="fr-FR" dirty="0">
                <a:ea typeface="Calibri" panose="020F0502020204030204" pitchFamily="34" charset="0"/>
              </a:rPr>
              <a:t> 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C9D517D-70A7-51E5-CA4E-DCE743F41F1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9F690C6-F4CD-4FC2-95DF-E832AE3B8C23}" type="slidenum">
              <a:rPr lang="fr-FR" smtClean="0"/>
              <a:pPr/>
              <a:t>6</a:t>
            </a:fld>
            <a:endParaRPr lang="fr-FR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A7CAF7A-0585-6831-84DC-15E8F4C9FB7D}"/>
              </a:ext>
            </a:extLst>
          </p:cNvPr>
          <p:cNvSpPr/>
          <p:nvPr/>
        </p:nvSpPr>
        <p:spPr>
          <a:xfrm>
            <a:off x="2917860" y="1048382"/>
            <a:ext cx="2024009" cy="1171254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General </a:t>
            </a:r>
            <a:r>
              <a:rPr lang="fr-FR" dirty="0" err="1"/>
              <a:t>dynamic</a:t>
            </a:r>
            <a:r>
              <a:rPr lang="fr-FR" dirty="0"/>
              <a:t> </a:t>
            </a:r>
            <a:r>
              <a:rPr lang="fr-FR" dirty="0" err="1"/>
              <a:t>price</a:t>
            </a:r>
            <a:r>
              <a:rPr lang="fr-FR" dirty="0"/>
              <a:t> formula </a:t>
            </a:r>
          </a:p>
          <a:p>
            <a:pPr algn="ctr"/>
            <a:r>
              <a:rPr lang="fr-FR" sz="2400" b="1" dirty="0"/>
              <a:t>CPO</a:t>
            </a:r>
            <a:endParaRPr lang="fr-FR" b="1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1E1F3EE-FA2C-4262-C8D5-745E992EEEE6}"/>
              </a:ext>
            </a:extLst>
          </p:cNvPr>
          <p:cNvSpPr/>
          <p:nvPr/>
        </p:nvSpPr>
        <p:spPr>
          <a:xfrm>
            <a:off x="6522378" y="1048382"/>
            <a:ext cx="2024009" cy="1171254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Past transactions </a:t>
            </a:r>
            <a:r>
              <a:rPr lang="fr-FR" dirty="0" err="1"/>
              <a:t>parameters</a:t>
            </a:r>
            <a:endParaRPr lang="fr-FR" dirty="0"/>
          </a:p>
          <a:p>
            <a:pPr algn="ctr"/>
            <a:r>
              <a:rPr lang="fr-FR" sz="2400" b="1" dirty="0" err="1"/>
              <a:t>Bemo</a:t>
            </a:r>
            <a:endParaRPr lang="fr-FR" b="1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E330B7F-28FD-FA44-DA35-02BDE5DCBF2C}"/>
              </a:ext>
            </a:extLst>
          </p:cNvPr>
          <p:cNvSpPr/>
          <p:nvPr/>
        </p:nvSpPr>
        <p:spPr>
          <a:xfrm>
            <a:off x="9662844" y="1239681"/>
            <a:ext cx="2024009" cy="69206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err="1"/>
              <a:t>Average</a:t>
            </a:r>
            <a:r>
              <a:rPr lang="fr-FR" sz="1400" dirty="0"/>
              <a:t> </a:t>
            </a:r>
            <a:r>
              <a:rPr lang="fr-FR" sz="1400" dirty="0" err="1"/>
              <a:t>consuming</a:t>
            </a:r>
            <a:r>
              <a:rPr lang="fr-FR" sz="1400" dirty="0"/>
              <a:t> </a:t>
            </a:r>
            <a:r>
              <a:rPr lang="fr-FR" sz="1400" dirty="0" err="1"/>
              <a:t>cart</a:t>
            </a:r>
            <a:endParaRPr lang="fr-FR" sz="1400" dirty="0"/>
          </a:p>
          <a:p>
            <a:pPr algn="ctr"/>
            <a:r>
              <a:rPr lang="fr-FR" b="1" dirty="0"/>
              <a:t>Customer</a:t>
            </a:r>
          </a:p>
        </p:txBody>
      </p:sp>
      <p:sp>
        <p:nvSpPr>
          <p:cNvPr id="8" name="Flèche : double flèche horizontale 7">
            <a:extLst>
              <a:ext uri="{FF2B5EF4-FFF2-40B4-BE49-F238E27FC236}">
                <a16:creationId xmlns:a16="http://schemas.microsoft.com/office/drawing/2014/main" id="{C55B637D-3805-AF94-79D9-92B6A83B1CE8}"/>
              </a:ext>
            </a:extLst>
          </p:cNvPr>
          <p:cNvSpPr/>
          <p:nvPr/>
        </p:nvSpPr>
        <p:spPr>
          <a:xfrm>
            <a:off x="8796390" y="1498803"/>
            <a:ext cx="616450" cy="272474"/>
          </a:xfrm>
          <a:prstGeom prst="left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Flèche : double flèche horizontale 8">
            <a:extLst>
              <a:ext uri="{FF2B5EF4-FFF2-40B4-BE49-F238E27FC236}">
                <a16:creationId xmlns:a16="http://schemas.microsoft.com/office/drawing/2014/main" id="{40CD7FF9-6848-59BF-7106-EB70CF3803F2}"/>
              </a:ext>
            </a:extLst>
          </p:cNvPr>
          <p:cNvSpPr/>
          <p:nvPr/>
        </p:nvSpPr>
        <p:spPr>
          <a:xfrm>
            <a:off x="5178175" y="1490380"/>
            <a:ext cx="1013718" cy="277402"/>
          </a:xfrm>
          <a:prstGeom prst="left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143167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52B8373-62D1-544B-7A5C-41B622D6A3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868" y="302393"/>
            <a:ext cx="9738335" cy="649922"/>
          </a:xfrm>
        </p:spPr>
        <p:txBody>
          <a:bodyPr/>
          <a:lstStyle/>
          <a:p>
            <a:r>
              <a:rPr lang="fr-FR" dirty="0"/>
              <a:t>Project guidelines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30F12B2-8A30-D6A2-6AC7-ABAE7B02E28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891" y="1060186"/>
            <a:ext cx="11156825" cy="4531865"/>
          </a:xfrm>
        </p:spPr>
        <p:txBody>
          <a:bodyPr/>
          <a:lstStyle/>
          <a:p>
            <a:pPr marL="342900" lvl="0" indent="-342900">
              <a:spcAft>
                <a:spcPts val="75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[MANDATORY] Quarter 1 2024 : Descriptive analysis of the pricing practices of the different European Charge Point Operators networks </a:t>
            </a:r>
            <a:endParaRPr lang="fr-FR" sz="1400" dirty="0">
              <a:solidFill>
                <a:srgbClr val="1F1F1F"/>
              </a:solidFill>
              <a:effectLst/>
              <a:cs typeface="Times New Roman" panose="02020603050405020304" pitchFamily="18" charset="0"/>
            </a:endParaRPr>
          </a:p>
          <a:p>
            <a:pPr marL="742950" lvl="1" indent="-285750">
              <a:spcAft>
                <a:spcPts val="75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Weight analysis of the different CPO price factors in the invoices : duration, energy quantity, power, locations, consuming uses…</a:t>
            </a:r>
          </a:p>
          <a:p>
            <a:pPr marL="1200150" lvl="2" indent="-285750">
              <a:spcAft>
                <a:spcPts val="75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Item 1 : Exploratory study and statistical description based on transactions dataset</a:t>
            </a:r>
            <a:endParaRPr lang="fr-FR" sz="1400" dirty="0">
              <a:solidFill>
                <a:srgbClr val="1F1F1F"/>
              </a:solidFill>
              <a:effectLst/>
              <a:cs typeface="Times New Roman" panose="02020603050405020304" pitchFamily="18" charset="0"/>
            </a:endParaRPr>
          </a:p>
          <a:p>
            <a:pPr marL="742950" lvl="1" indent="-285750">
              <a:spcAft>
                <a:spcPts val="75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CPO pri</a:t>
            </a:r>
            <a:r>
              <a:rPr lang="en-US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cing formula analysis</a:t>
            </a:r>
            <a:r>
              <a:rPr lang="en-US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 : </a:t>
            </a:r>
            <a:endParaRPr lang="fr-FR" sz="1400" dirty="0">
              <a:solidFill>
                <a:srgbClr val="1F1F1F"/>
              </a:solidFill>
              <a:effectLst/>
              <a:cs typeface="Times New Roman" panose="02020603050405020304" pitchFamily="18" charset="0"/>
            </a:endParaRPr>
          </a:p>
          <a:p>
            <a:pPr marL="1143000" lvl="2" indent="-228600">
              <a:spcAft>
                <a:spcPts val="750"/>
              </a:spcAft>
              <a:buSzPts val="1000"/>
              <a:buFont typeface="Wingdings" panose="05000000000000000000" pitchFamily="2" charset="2"/>
              <a:buChar char=""/>
              <a:tabLst>
                <a:tab pos="1371600" algn="l"/>
              </a:tabLst>
            </a:pPr>
            <a:r>
              <a:rPr lang="en-US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Item 2 : Comparison study to assess </a:t>
            </a:r>
            <a:r>
              <a:rPr lang="en-US" sz="1400" dirty="0" err="1">
                <a:solidFill>
                  <a:srgbClr val="1F1F1F"/>
                </a:solidFill>
                <a:cs typeface="Times New Roman" panose="02020603050405020304" pitchFamily="18" charset="0"/>
              </a:rPr>
              <a:t>Bemo</a:t>
            </a:r>
            <a:r>
              <a:rPr lang="en-US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 valuation (using </a:t>
            </a:r>
            <a:r>
              <a:rPr lang="en-US" sz="1400" dirty="0" err="1">
                <a:solidFill>
                  <a:srgbClr val="1F1F1F"/>
                </a:solidFill>
                <a:cs typeface="Times New Roman" panose="02020603050405020304" pitchFamily="18" charset="0"/>
              </a:rPr>
              <a:t>Bemo</a:t>
            </a:r>
            <a:r>
              <a:rPr lang="en-US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solidFill>
                  <a:srgbClr val="1F1F1F"/>
                </a:solidFill>
                <a:cs typeface="Times New Roman" panose="02020603050405020304" pitchFamily="18" charset="0"/>
              </a:rPr>
              <a:t>Pricer</a:t>
            </a:r>
            <a:r>
              <a:rPr lang="en-US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) vs actual CPO price based on past transactions. Accuracy of </a:t>
            </a:r>
            <a:r>
              <a:rPr lang="en-US" sz="1400" dirty="0" err="1">
                <a:solidFill>
                  <a:srgbClr val="1F1F1F"/>
                </a:solidFill>
                <a:cs typeface="Times New Roman" panose="02020603050405020304" pitchFamily="18" charset="0"/>
              </a:rPr>
              <a:t>Bemo</a:t>
            </a:r>
            <a:r>
              <a:rPr lang="en-US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 valuation.</a:t>
            </a:r>
          </a:p>
          <a:p>
            <a:pPr marL="1143000" lvl="2" indent="-228600">
              <a:spcAft>
                <a:spcPts val="750"/>
              </a:spcAft>
              <a:buSzPts val="1000"/>
              <a:buFont typeface="Wingdings" panose="05000000000000000000" pitchFamily="2" charset="2"/>
              <a:buChar char=""/>
              <a:tabLst>
                <a:tab pos="1371600" algn="l"/>
              </a:tabLst>
            </a:pPr>
            <a:r>
              <a:rPr lang="en-US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Item 3 : Few simple batch works to explore scope of application / degrees of freedom of one CPO formula modification of session params and formula params)</a:t>
            </a:r>
          </a:p>
          <a:p>
            <a:pPr marL="1143000" lvl="2" indent="-228600">
              <a:spcAft>
                <a:spcPts val="750"/>
              </a:spcAft>
              <a:buSzPts val="1000"/>
              <a:buFont typeface="Wingdings" panose="05000000000000000000" pitchFamily="2" charset="2"/>
              <a:buChar char=""/>
              <a:tabLst>
                <a:tab pos="1371600" algn="l"/>
              </a:tabLst>
            </a:pP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Item 4.1 : Batch computation to </a:t>
            </a:r>
            <a:r>
              <a:rPr lang="fr-FR" sz="1400" dirty="0" err="1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assess</a:t>
            </a: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 one CPO formula full </a:t>
            </a:r>
            <a:r>
              <a:rPr lang="fr-FR" sz="1400" dirty="0" err="1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domain</a:t>
            </a: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 </a:t>
            </a:r>
            <a:r>
              <a:rPr lang="fr-FR" sz="1400" dirty="0" err="1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using</a:t>
            </a: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 </a:t>
            </a:r>
            <a:r>
              <a:rPr lang="fr-FR" sz="1400" dirty="0" err="1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various</a:t>
            </a: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 </a:t>
            </a:r>
            <a:r>
              <a:rPr lang="fr-FR" sz="1400" dirty="0" err="1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consuming</a:t>
            </a: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 </a:t>
            </a:r>
            <a:r>
              <a:rPr lang="fr-FR" sz="1400" dirty="0" err="1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schemes</a:t>
            </a:r>
            <a:r>
              <a:rPr lang="fr-FR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 </a:t>
            </a: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(</a:t>
            </a:r>
            <a:r>
              <a:rPr lang="fr-FR" sz="1400" dirty="0" err="1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average</a:t>
            </a: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 </a:t>
            </a:r>
            <a:r>
              <a:rPr lang="fr-FR" sz="1400" dirty="0" err="1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consuming</a:t>
            </a: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 </a:t>
            </a:r>
            <a:r>
              <a:rPr lang="fr-FR" sz="1400" dirty="0" err="1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cart</a:t>
            </a:r>
            <a:r>
              <a:rPr lang="fr-FR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 and </a:t>
            </a:r>
            <a:r>
              <a:rPr lang="fr-FR" sz="1400" dirty="0" err="1">
                <a:solidFill>
                  <a:srgbClr val="1F1F1F"/>
                </a:solidFill>
                <a:cs typeface="Times New Roman" panose="02020603050405020304" pitchFamily="18" charset="0"/>
              </a:rPr>
              <a:t>past</a:t>
            </a:r>
            <a:r>
              <a:rPr lang="fr-FR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 transactions). </a:t>
            </a:r>
            <a:r>
              <a:rPr lang="fr-FR" sz="1400" dirty="0" err="1">
                <a:solidFill>
                  <a:srgbClr val="1F1F1F"/>
                </a:solidFill>
                <a:cs typeface="Times New Roman" panose="02020603050405020304" pitchFamily="18" charset="0"/>
              </a:rPr>
              <a:t>Assessment</a:t>
            </a:r>
            <a:r>
              <a:rPr lang="fr-FR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 of </a:t>
            </a:r>
            <a:r>
              <a:rPr lang="fr-FR" sz="1400" dirty="0" err="1">
                <a:solidFill>
                  <a:srgbClr val="1F1F1F"/>
                </a:solidFill>
                <a:cs typeface="Times New Roman" panose="02020603050405020304" pitchFamily="18" charset="0"/>
              </a:rPr>
              <a:t>theoretical</a:t>
            </a:r>
            <a:r>
              <a:rPr lang="fr-FR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 formula vs </a:t>
            </a:r>
            <a:r>
              <a:rPr lang="fr-FR" sz="1400" dirty="0" err="1">
                <a:solidFill>
                  <a:srgbClr val="1F1F1F"/>
                </a:solidFill>
                <a:cs typeface="Times New Roman" panose="02020603050405020304" pitchFamily="18" charset="0"/>
              </a:rPr>
              <a:t>actual</a:t>
            </a:r>
            <a:r>
              <a:rPr lang="fr-FR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 </a:t>
            </a:r>
            <a:r>
              <a:rPr lang="fr-FR" sz="1400" dirty="0" err="1">
                <a:solidFill>
                  <a:srgbClr val="1F1F1F"/>
                </a:solidFill>
                <a:cs typeface="Times New Roman" panose="02020603050405020304" pitchFamily="18" charset="0"/>
              </a:rPr>
              <a:t>price</a:t>
            </a:r>
            <a:r>
              <a:rPr lang="fr-FR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. </a:t>
            </a:r>
            <a:r>
              <a:rPr lang="fr-FR" sz="1400" dirty="0">
                <a:solidFill>
                  <a:srgbClr val="1F1F1F"/>
                </a:solidFill>
                <a:cs typeface="Times New Roman" panose="02020603050405020304" pitchFamily="18" charset="0"/>
                <a:sym typeface="Wingdings" panose="05000000000000000000" pitchFamily="2" charset="2"/>
              </a:rPr>
              <a:t> </a:t>
            </a:r>
            <a:r>
              <a:rPr lang="fr-FR" sz="1400" dirty="0" err="1">
                <a:solidFill>
                  <a:srgbClr val="1F1F1F"/>
                </a:solidFill>
                <a:cs typeface="Times New Roman" panose="02020603050405020304" pitchFamily="18" charset="0"/>
                <a:sym typeface="Wingdings" panose="05000000000000000000" pitchFamily="2" charset="2"/>
              </a:rPr>
              <a:t>enriched</a:t>
            </a:r>
            <a:r>
              <a:rPr lang="fr-FR" sz="1400" dirty="0">
                <a:solidFill>
                  <a:srgbClr val="1F1F1F"/>
                </a:solidFill>
                <a:cs typeface="Times New Roman" panose="02020603050405020304" pitchFamily="18" charset="0"/>
                <a:sym typeface="Wingdings" panose="05000000000000000000" pitchFamily="2" charset="2"/>
              </a:rPr>
              <a:t> CDR </a:t>
            </a:r>
            <a:r>
              <a:rPr lang="fr-FR" sz="1400">
                <a:solidFill>
                  <a:srgbClr val="1F1F1F"/>
                </a:solidFill>
                <a:cs typeface="Times New Roman" panose="02020603050405020304" pitchFamily="18" charset="0"/>
                <a:sym typeface="Wingdings" panose="05000000000000000000" pitchFamily="2" charset="2"/>
              </a:rPr>
              <a:t>to replay</a:t>
            </a:r>
            <a:endParaRPr lang="fr-FR" sz="1400" dirty="0">
              <a:solidFill>
                <a:srgbClr val="1F1F1F"/>
              </a:solidFill>
              <a:cs typeface="Times New Roman" panose="02020603050405020304" pitchFamily="18" charset="0"/>
            </a:endParaRPr>
          </a:p>
          <a:p>
            <a:pPr marL="1143000" lvl="2" indent="-228600">
              <a:spcAft>
                <a:spcPts val="750"/>
              </a:spcAft>
              <a:buSzPts val="1000"/>
              <a:buFont typeface="Wingdings" panose="05000000000000000000" pitchFamily="2" charset="2"/>
              <a:buChar char=""/>
              <a:tabLst>
                <a:tab pos="1371600" algn="l"/>
              </a:tabLst>
            </a:pP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Item 4.2 : Batch computation to </a:t>
            </a:r>
            <a:r>
              <a:rPr lang="fr-FR" sz="1400" dirty="0" err="1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assess</a:t>
            </a: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 one </a:t>
            </a:r>
            <a:r>
              <a:rPr lang="fr-FR" sz="1400" dirty="0" err="1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consuming</a:t>
            </a: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 </a:t>
            </a:r>
            <a:r>
              <a:rPr lang="fr-FR" sz="1400" dirty="0" err="1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scheme</a:t>
            </a: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 (</a:t>
            </a:r>
            <a:r>
              <a:rPr lang="fr-FR" sz="1400" dirty="0" err="1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average</a:t>
            </a: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 </a:t>
            </a:r>
            <a:r>
              <a:rPr lang="fr-FR" sz="1400" dirty="0" err="1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consuming</a:t>
            </a: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 </a:t>
            </a:r>
            <a:r>
              <a:rPr lang="fr-FR" sz="1400" dirty="0" err="1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cart</a:t>
            </a: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) over </a:t>
            </a:r>
            <a:r>
              <a:rPr lang="fr-FR" sz="1400" dirty="0" err="1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various</a:t>
            </a: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 CPO formula. </a:t>
            </a:r>
            <a:r>
              <a:rPr lang="fr-FR" sz="1400" dirty="0" err="1">
                <a:solidFill>
                  <a:srgbClr val="1F1F1F"/>
                </a:solidFill>
                <a:cs typeface="Times New Roman" panose="02020603050405020304" pitchFamily="18" charset="0"/>
              </a:rPr>
              <a:t>Assessment</a:t>
            </a:r>
            <a:r>
              <a:rPr lang="fr-FR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 of formula </a:t>
            </a:r>
            <a:r>
              <a:rPr lang="fr-FR" sz="1400" dirty="0" err="1">
                <a:solidFill>
                  <a:srgbClr val="1F1F1F"/>
                </a:solidFill>
                <a:cs typeface="Times New Roman" panose="02020603050405020304" pitchFamily="18" charset="0"/>
              </a:rPr>
              <a:t>wideness</a:t>
            </a:r>
            <a:r>
              <a:rPr lang="fr-FR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.</a:t>
            </a:r>
            <a:endParaRPr lang="fr-FR" sz="1400" dirty="0">
              <a:solidFill>
                <a:srgbClr val="1F1F1F"/>
              </a:solidFill>
              <a:effectLst/>
              <a:cs typeface="Times New Roman" panose="02020603050405020304" pitchFamily="18" charset="0"/>
            </a:endParaRPr>
          </a:p>
          <a:p>
            <a:pPr marL="1143000" lvl="2" indent="-228600">
              <a:spcAft>
                <a:spcPts val="750"/>
              </a:spcAft>
              <a:buSzPts val="1000"/>
              <a:buFont typeface="Wingdings" panose="05000000000000000000" pitchFamily="2" charset="2"/>
              <a:buChar char=""/>
              <a:tabLst>
                <a:tab pos="1371600" algn="l"/>
              </a:tabLst>
            </a:pPr>
            <a:r>
              <a:rPr lang="en-US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Item 5 : Conclusion in terms of general overview, details per CPO and way of handling pricing formula for various departments which work on it. </a:t>
            </a:r>
          </a:p>
          <a:p>
            <a:pPr marL="742950" lvl="1" indent="-285750">
              <a:spcAft>
                <a:spcPts val="75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Items 1,2,3 expected as intermediary deliverable by the end of April 2024. </a:t>
            </a:r>
          </a:p>
          <a:p>
            <a:pPr marL="742950" lvl="1" indent="-285750">
              <a:spcAft>
                <a:spcPts val="75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Items 4,5 expected by the end of the project in Mid-June 2024.</a:t>
            </a:r>
            <a:endParaRPr lang="fr-FR" sz="1400" dirty="0">
              <a:solidFill>
                <a:srgbClr val="1F1F1F"/>
              </a:solidFill>
              <a:cs typeface="Times New Roman" panose="02020603050405020304" pitchFamily="18" charset="0"/>
            </a:endParaRPr>
          </a:p>
          <a:p>
            <a:pPr marL="342900" lvl="0" indent="-342900">
              <a:spcAft>
                <a:spcPts val="75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[OPTIONAL] Quarter 2 2024 : Study of the application of yield management practices for optimization purposes</a:t>
            </a:r>
            <a:endParaRPr lang="fr-FR" sz="1400" dirty="0">
              <a:solidFill>
                <a:srgbClr val="1F1F1F"/>
              </a:solidFill>
              <a:effectLst/>
              <a:cs typeface="Times New Roman" panose="02020603050405020304" pitchFamily="18" charset="0"/>
            </a:endParaRPr>
          </a:p>
          <a:p>
            <a:pPr marL="742950" lvl="1" indent="-285750">
              <a:spcAft>
                <a:spcPts val="75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400" dirty="0">
                <a:solidFill>
                  <a:srgbClr val="000000"/>
                </a:solidFill>
                <a:effectLst/>
                <a:cs typeface="Times New Roman" panose="02020603050405020304" pitchFamily="18" charset="0"/>
              </a:rPr>
              <a:t>Item 6 : Find the best price by default for a given CPO with the conclusion of the first section</a:t>
            </a:r>
            <a:endParaRPr lang="fr-FR" sz="1400" dirty="0">
              <a:effectLst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C9D517D-70A7-51E5-CA4E-DCE743F41F1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9F690C6-F4CD-4FC2-95DF-E832AE3B8C23}" type="slidenum">
              <a:rPr lang="fr-FR" smtClean="0"/>
              <a:pPr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585199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52B8373-62D1-544B-7A5C-41B622D6A3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869" y="302393"/>
            <a:ext cx="9799980" cy="649922"/>
          </a:xfrm>
        </p:spPr>
        <p:txBody>
          <a:bodyPr/>
          <a:lstStyle/>
          <a:p>
            <a:r>
              <a:rPr lang="fr-FR" dirty="0"/>
              <a:t>Example of use case issue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30F12B2-8A30-D6A2-6AC7-ABAE7B02E28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74869" y="1089062"/>
            <a:ext cx="10718166" cy="4762288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 err="1">
                <a:ea typeface="Calibri" panose="020F0502020204030204" pitchFamily="34" charset="0"/>
              </a:rPr>
              <a:t>Dataset</a:t>
            </a:r>
            <a:r>
              <a:rPr lang="fr-FR" dirty="0">
                <a:ea typeface="Calibri" panose="020F0502020204030204" pitchFamily="34" charset="0"/>
              </a:rPr>
              <a:t> of </a:t>
            </a:r>
            <a:r>
              <a:rPr lang="fr-FR" dirty="0" err="1">
                <a:ea typeface="Calibri" panose="020F0502020204030204" pitchFamily="34" charset="0"/>
              </a:rPr>
              <a:t>past</a:t>
            </a:r>
            <a:r>
              <a:rPr lang="fr-FR" dirty="0">
                <a:ea typeface="Calibri" panose="020F0502020204030204" pitchFamily="34" charset="0"/>
              </a:rPr>
              <a:t> transactions </a:t>
            </a:r>
            <a:r>
              <a:rPr lang="fr-FR" dirty="0" err="1">
                <a:ea typeface="Calibri" panose="020F0502020204030204" pitchFamily="34" charset="0"/>
              </a:rPr>
              <a:t>paid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through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TotalEnergies</a:t>
            </a:r>
            <a:r>
              <a:rPr lang="fr-FR" dirty="0">
                <a:ea typeface="Calibri" panose="020F0502020204030204" pitchFamily="34" charset="0"/>
              </a:rPr>
              <a:t> CPO network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dirty="0" err="1">
                <a:ea typeface="Calibri" panose="020F0502020204030204" pitchFamily="34" charset="0"/>
              </a:rPr>
              <a:t>Average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consuming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cart</a:t>
            </a:r>
            <a:r>
              <a:rPr lang="fr-FR" dirty="0">
                <a:ea typeface="Calibri" panose="020F0502020204030204" pitchFamily="34" charset="0"/>
              </a:rPr>
              <a:t> for </a:t>
            </a:r>
            <a:r>
              <a:rPr lang="fr-FR" dirty="0" err="1">
                <a:ea typeface="Calibri" panose="020F0502020204030204" pitchFamily="34" charset="0"/>
              </a:rPr>
              <a:t>various</a:t>
            </a:r>
            <a:r>
              <a:rPr lang="fr-FR" dirty="0">
                <a:ea typeface="Calibri" panose="020F0502020204030204" pitchFamily="34" charset="0"/>
              </a:rPr>
              <a:t> power segments : start time, duration, </a:t>
            </a:r>
            <a:r>
              <a:rPr lang="fr-FR" dirty="0" err="1">
                <a:ea typeface="Calibri" panose="020F0502020204030204" pitchFamily="34" charset="0"/>
              </a:rPr>
              <a:t>consumed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energy</a:t>
            </a:r>
            <a:r>
              <a:rPr lang="fr-FR" dirty="0">
                <a:ea typeface="Calibri" panose="020F0502020204030204" pitchFamily="34" charset="0"/>
              </a:rPr>
              <a:t>, </a:t>
            </a:r>
            <a:r>
              <a:rPr lang="fr-FR" dirty="0" err="1">
                <a:ea typeface="Calibri" panose="020F0502020204030204" pitchFamily="34" charset="0"/>
              </a:rPr>
              <a:t>price</a:t>
            </a:r>
            <a:endParaRPr lang="fr-FR" dirty="0">
              <a:ea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fr-FR" dirty="0">
              <a:ea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fr-FR" dirty="0">
              <a:ea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fr-FR" dirty="0">
              <a:ea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fr-FR" dirty="0">
              <a:ea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fr-FR" dirty="0">
              <a:ea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fr-FR" dirty="0">
              <a:ea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fr-FR" dirty="0">
              <a:ea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fr-FR" dirty="0">
              <a:ea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fr-FR" dirty="0">
              <a:ea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fr-FR" dirty="0">
              <a:ea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fr-FR" dirty="0">
              <a:ea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fr-FR" dirty="0">
              <a:ea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fr-FR" dirty="0">
              <a:ea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 err="1">
                <a:ea typeface="Calibri" panose="020F0502020204030204" pitchFamily="34" charset="0"/>
              </a:rPr>
              <a:t>Dataset</a:t>
            </a:r>
            <a:r>
              <a:rPr lang="fr-FR" dirty="0">
                <a:ea typeface="Calibri" panose="020F0502020204030204" pitchFamily="34" charset="0"/>
              </a:rPr>
              <a:t> of </a:t>
            </a:r>
            <a:r>
              <a:rPr lang="fr-FR" dirty="0" err="1">
                <a:ea typeface="Calibri" panose="020F0502020204030204" pitchFamily="34" charset="0"/>
              </a:rPr>
              <a:t>various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pricing</a:t>
            </a:r>
            <a:r>
              <a:rPr lang="fr-FR" dirty="0">
                <a:ea typeface="Calibri" panose="020F0502020204030204" pitchFamily="34" charset="0"/>
              </a:rPr>
              <a:t> formula for </a:t>
            </a:r>
            <a:r>
              <a:rPr lang="fr-FR" dirty="0" err="1">
                <a:ea typeface="Calibri" panose="020F0502020204030204" pitchFamily="34" charset="0"/>
              </a:rPr>
              <a:t>TotalEnergies</a:t>
            </a:r>
            <a:r>
              <a:rPr lang="fr-FR" dirty="0">
                <a:ea typeface="Calibri" panose="020F0502020204030204" pitchFamily="34" charset="0"/>
              </a:rPr>
              <a:t> CPO net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dirty="0">
              <a:ea typeface="Calibri" panose="020F0502020204030204" pitchFamily="34" charset="0"/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C9D517D-70A7-51E5-CA4E-DCE743F41F1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9F690C6-F4CD-4FC2-95DF-E832AE3B8C23}" type="slidenum">
              <a:rPr lang="fr-FR" smtClean="0"/>
              <a:pPr/>
              <a:t>8</a:t>
            </a:fld>
            <a:endParaRPr lang="fr-FR"/>
          </a:p>
        </p:txBody>
      </p:sp>
      <p:graphicFrame>
        <p:nvGraphicFramePr>
          <p:cNvPr id="3" name="Tableau 4">
            <a:extLst>
              <a:ext uri="{FF2B5EF4-FFF2-40B4-BE49-F238E27FC236}">
                <a16:creationId xmlns:a16="http://schemas.microsoft.com/office/drawing/2014/main" id="{260BD59A-2BE9-D45D-5F46-BCFAC130938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8404011"/>
              </p:ext>
            </p:extLst>
          </p:nvPr>
        </p:nvGraphicFramePr>
        <p:xfrm>
          <a:off x="900905" y="1881076"/>
          <a:ext cx="10390189" cy="340868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413975">
                  <a:extLst>
                    <a:ext uri="{9D8B030D-6E8A-4147-A177-3AD203B41FA5}">
                      <a16:colId xmlns:a16="http://schemas.microsoft.com/office/drawing/2014/main" val="1776692300"/>
                    </a:ext>
                  </a:extLst>
                </a:gridCol>
                <a:gridCol w="1544955">
                  <a:extLst>
                    <a:ext uri="{9D8B030D-6E8A-4147-A177-3AD203B41FA5}">
                      <a16:colId xmlns:a16="http://schemas.microsoft.com/office/drawing/2014/main" val="171232564"/>
                    </a:ext>
                  </a:extLst>
                </a:gridCol>
                <a:gridCol w="1500505">
                  <a:extLst>
                    <a:ext uri="{9D8B030D-6E8A-4147-A177-3AD203B41FA5}">
                      <a16:colId xmlns:a16="http://schemas.microsoft.com/office/drawing/2014/main" val="1270570729"/>
                    </a:ext>
                  </a:extLst>
                </a:gridCol>
                <a:gridCol w="1800543">
                  <a:extLst>
                    <a:ext uri="{9D8B030D-6E8A-4147-A177-3AD203B41FA5}">
                      <a16:colId xmlns:a16="http://schemas.microsoft.com/office/drawing/2014/main" val="111150152"/>
                    </a:ext>
                  </a:extLst>
                </a:gridCol>
                <a:gridCol w="1592494">
                  <a:extLst>
                    <a:ext uri="{9D8B030D-6E8A-4147-A177-3AD203B41FA5}">
                      <a16:colId xmlns:a16="http://schemas.microsoft.com/office/drawing/2014/main" val="1604406432"/>
                    </a:ext>
                  </a:extLst>
                </a:gridCol>
                <a:gridCol w="1140432">
                  <a:extLst>
                    <a:ext uri="{9D8B030D-6E8A-4147-A177-3AD203B41FA5}">
                      <a16:colId xmlns:a16="http://schemas.microsoft.com/office/drawing/2014/main" val="1405323677"/>
                    </a:ext>
                  </a:extLst>
                </a:gridCol>
                <a:gridCol w="1397285">
                  <a:extLst>
                    <a:ext uri="{9D8B030D-6E8A-4147-A177-3AD203B41FA5}">
                      <a16:colId xmlns:a16="http://schemas.microsoft.com/office/drawing/2014/main" val="3588985439"/>
                    </a:ext>
                  </a:extLst>
                </a:gridCol>
              </a:tblGrid>
              <a:tr h="278847">
                <a:tc>
                  <a:txBody>
                    <a:bodyPr/>
                    <a:lstStyle/>
                    <a:p>
                      <a:r>
                        <a:rPr lang="fr-FR" dirty="0"/>
                        <a:t>Count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« CPO »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Custom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Power seg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err="1"/>
                        <a:t>Median</a:t>
                      </a:r>
                      <a:r>
                        <a:rPr lang="fr-FR" dirty="0"/>
                        <a:t> start ti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err="1"/>
                        <a:t>Median</a:t>
                      </a:r>
                      <a:r>
                        <a:rPr lang="fr-FR" dirty="0"/>
                        <a:t> dur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err="1"/>
                        <a:t>Median</a:t>
                      </a:r>
                      <a:r>
                        <a:rPr lang="fr-FR" dirty="0"/>
                        <a:t> </a:t>
                      </a:r>
                      <a:r>
                        <a:rPr lang="fr-FR" dirty="0" err="1"/>
                        <a:t>consumed</a:t>
                      </a:r>
                      <a:r>
                        <a:rPr lang="fr-FR" dirty="0"/>
                        <a:t> </a:t>
                      </a:r>
                      <a:r>
                        <a:rPr lang="fr-FR" dirty="0" err="1"/>
                        <a:t>energy</a:t>
                      </a:r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730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Iso 3166 1 alpha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(UTC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kW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68397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F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err="1"/>
                        <a:t>TotalEnergies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err="1"/>
                        <a:t>MyCard</a:t>
                      </a:r>
                      <a:r>
                        <a:rPr lang="fr-FR" dirty="0"/>
                        <a:t>-Fle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AC slow char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12h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2h5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11.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861509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F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err="1"/>
                        <a:t>TotalEnergies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err="1"/>
                        <a:t>MyCard</a:t>
                      </a:r>
                      <a:r>
                        <a:rPr lang="fr-FR" dirty="0"/>
                        <a:t>-Fle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AC fast char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13h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1h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10.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18529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F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err="1"/>
                        <a:t>TotalEnergies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err="1"/>
                        <a:t>MyCard</a:t>
                      </a:r>
                      <a:r>
                        <a:rPr lang="fr-FR" dirty="0"/>
                        <a:t>-Fle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DC char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12h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48m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22.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543977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F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err="1"/>
                        <a:t>TotalEnergies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err="1"/>
                        <a:t>MyCard</a:t>
                      </a:r>
                      <a:r>
                        <a:rPr lang="fr-FR" dirty="0"/>
                        <a:t>-Fle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DC HP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13h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28m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26.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73450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err="1"/>
                        <a:t>Others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TB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74469361"/>
                  </a:ext>
                </a:extLst>
              </a:tr>
            </a:tbl>
          </a:graphicData>
        </a:graphic>
      </p:graphicFrame>
      <p:pic>
        <p:nvPicPr>
          <p:cNvPr id="7" name="Image 6">
            <a:extLst>
              <a:ext uri="{FF2B5EF4-FFF2-40B4-BE49-F238E27FC236}">
                <a16:creationId xmlns:a16="http://schemas.microsoft.com/office/drawing/2014/main" id="{9EE90239-B66A-07AF-ADDE-5A9A068B435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37769"/>
          <a:stretch/>
        </p:blipFill>
        <p:spPr>
          <a:xfrm>
            <a:off x="419099" y="5716602"/>
            <a:ext cx="11299861" cy="625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96706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30F12B2-8A30-D6A2-6AC7-ABAE7B02E28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5417" y="435903"/>
            <a:ext cx="10718166" cy="453186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 err="1">
                <a:ea typeface="Calibri" panose="020F0502020204030204" pitchFamily="34" charset="0"/>
              </a:rPr>
              <a:t>Various</a:t>
            </a:r>
            <a:r>
              <a:rPr lang="fr-FR" dirty="0">
                <a:ea typeface="Calibri" panose="020F0502020204030204" pitchFamily="34" charset="0"/>
              </a:rPr>
              <a:t> questions about </a:t>
            </a:r>
            <a:r>
              <a:rPr lang="fr-FR" dirty="0" err="1">
                <a:ea typeface="Calibri" panose="020F0502020204030204" pitchFamily="34" charset="0"/>
              </a:rPr>
              <a:t>pricing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policy</a:t>
            </a:r>
            <a:r>
              <a:rPr lang="fr-FR" dirty="0">
                <a:ea typeface="Calibri" panose="020F0502020204030204" pitchFamily="34" charset="0"/>
              </a:rPr>
              <a:t> 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dirty="0">
                <a:ea typeface="Calibri" panose="020F0502020204030204" pitchFamily="34" charset="0"/>
              </a:rPr>
              <a:t>Can </a:t>
            </a:r>
            <a:r>
              <a:rPr lang="fr-FR" dirty="0" err="1">
                <a:ea typeface="Calibri" panose="020F0502020204030204" pitchFamily="34" charset="0"/>
              </a:rPr>
              <a:t>general</a:t>
            </a:r>
            <a:r>
              <a:rPr lang="fr-FR" dirty="0">
                <a:ea typeface="Calibri" panose="020F0502020204030204" pitchFamily="34" charset="0"/>
              </a:rPr>
              <a:t> trends </a:t>
            </a:r>
            <a:r>
              <a:rPr lang="fr-FR" dirty="0" err="1">
                <a:ea typeface="Calibri" panose="020F0502020204030204" pitchFamily="34" charset="0"/>
              </a:rPr>
              <a:t>based</a:t>
            </a:r>
            <a:r>
              <a:rPr lang="fr-FR" dirty="0">
                <a:ea typeface="Calibri" panose="020F0502020204030204" pitchFamily="34" charset="0"/>
              </a:rPr>
              <a:t> on </a:t>
            </a:r>
            <a:r>
              <a:rPr lang="fr-FR" dirty="0" err="1">
                <a:ea typeface="Calibri" panose="020F0502020204030204" pitchFamily="34" charset="0"/>
              </a:rPr>
              <a:t>consuming</a:t>
            </a:r>
            <a:r>
              <a:rPr lang="fr-FR" dirty="0">
                <a:ea typeface="Calibri" panose="020F0502020204030204" pitchFamily="34" charset="0"/>
              </a:rPr>
              <a:t> use </a:t>
            </a:r>
            <a:r>
              <a:rPr lang="fr-FR" dirty="0" err="1">
                <a:ea typeface="Calibri" panose="020F0502020204030204" pitchFamily="34" charset="0"/>
              </a:rPr>
              <a:t>be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analysed</a:t>
            </a:r>
            <a:r>
              <a:rPr lang="fr-FR" dirty="0">
                <a:ea typeface="Calibri" panose="020F0502020204030204" pitchFamily="34" charset="0"/>
              </a:rPr>
              <a:t> 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dirty="0">
                <a:ea typeface="Calibri" panose="020F0502020204030204" pitchFamily="34" charset="0"/>
              </a:rPr>
              <a:t>How do </a:t>
            </a:r>
            <a:r>
              <a:rPr lang="fr-FR" dirty="0" err="1">
                <a:ea typeface="Calibri" panose="020F0502020204030204" pitchFamily="34" charset="0"/>
              </a:rPr>
              <a:t>actual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prices</a:t>
            </a:r>
            <a:r>
              <a:rPr lang="fr-FR" dirty="0">
                <a:ea typeface="Calibri" panose="020F0502020204030204" pitchFamily="34" charset="0"/>
              </a:rPr>
              <a:t> match </a:t>
            </a:r>
            <a:r>
              <a:rPr lang="fr-FR" dirty="0" err="1">
                <a:ea typeface="Calibri" panose="020F0502020204030204" pitchFamily="34" charset="0"/>
              </a:rPr>
              <a:t>theoretical</a:t>
            </a:r>
            <a:r>
              <a:rPr lang="fr-FR" dirty="0">
                <a:ea typeface="Calibri" panose="020F0502020204030204" pitchFamily="34" charset="0"/>
              </a:rPr>
              <a:t> formula </a:t>
            </a:r>
            <a:r>
              <a:rPr lang="fr-FR" dirty="0" err="1">
                <a:ea typeface="Calibri" panose="020F0502020204030204" pitchFamily="34" charset="0"/>
              </a:rPr>
              <a:t>given</a:t>
            </a:r>
            <a:r>
              <a:rPr lang="fr-FR" dirty="0">
                <a:ea typeface="Calibri" panose="020F0502020204030204" pitchFamily="34" charset="0"/>
              </a:rPr>
              <a:t> by the CPO 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dirty="0">
                <a:ea typeface="Calibri" panose="020F0502020204030204" pitchFamily="34" charset="0"/>
              </a:rPr>
              <a:t>Can </a:t>
            </a:r>
            <a:r>
              <a:rPr lang="fr-FR" dirty="0" err="1">
                <a:ea typeface="Calibri" panose="020F0502020204030204" pitchFamily="34" charset="0"/>
              </a:rPr>
              <a:t>dynamic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pricing</a:t>
            </a:r>
            <a:r>
              <a:rPr lang="fr-FR" dirty="0">
                <a:ea typeface="Calibri" panose="020F0502020204030204" pitchFamily="34" charset="0"/>
              </a:rPr>
              <a:t> formula </a:t>
            </a:r>
            <a:r>
              <a:rPr lang="fr-FR" dirty="0" err="1">
                <a:ea typeface="Calibri" panose="020F0502020204030204" pitchFamily="34" charset="0"/>
              </a:rPr>
              <a:t>be</a:t>
            </a:r>
            <a:r>
              <a:rPr lang="fr-FR" dirty="0">
                <a:ea typeface="Calibri" panose="020F0502020204030204" pitchFamily="34" charset="0"/>
              </a:rPr>
              <a:t> set in an </a:t>
            </a:r>
            <a:r>
              <a:rPr lang="fr-FR" dirty="0" err="1">
                <a:ea typeface="Calibri" panose="020F0502020204030204" pitchFamily="34" charset="0"/>
              </a:rPr>
              <a:t>interval</a:t>
            </a:r>
            <a:r>
              <a:rPr lang="fr-FR" dirty="0">
                <a:ea typeface="Calibri" panose="020F0502020204030204" pitchFamily="34" charset="0"/>
              </a:rPr>
              <a:t> for groups of CPO 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dirty="0">
                <a:ea typeface="Calibri" panose="020F0502020204030204" pitchFamily="34" charset="0"/>
              </a:rPr>
              <a:t>Is </a:t>
            </a:r>
            <a:r>
              <a:rPr lang="fr-FR" dirty="0" err="1">
                <a:ea typeface="Calibri" panose="020F0502020204030204" pitchFamily="34" charset="0"/>
              </a:rPr>
              <a:t>it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useful</a:t>
            </a:r>
            <a:r>
              <a:rPr lang="fr-FR" dirty="0">
                <a:ea typeface="Calibri" panose="020F0502020204030204" pitchFamily="34" charset="0"/>
              </a:rPr>
              <a:t> to update </a:t>
            </a:r>
            <a:r>
              <a:rPr lang="fr-FR" dirty="0" err="1">
                <a:ea typeface="Calibri" panose="020F0502020204030204" pitchFamily="34" charset="0"/>
              </a:rPr>
              <a:t>price</a:t>
            </a:r>
            <a:r>
              <a:rPr lang="fr-FR" dirty="0">
                <a:ea typeface="Calibri" panose="020F0502020204030204" pitchFamily="34" charset="0"/>
              </a:rPr>
              <a:t> formula </a:t>
            </a:r>
            <a:r>
              <a:rPr lang="fr-FR" dirty="0" err="1">
                <a:ea typeface="Calibri" panose="020F0502020204030204" pitchFamily="34" charset="0"/>
              </a:rPr>
              <a:t>so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often</a:t>
            </a:r>
            <a:r>
              <a:rPr lang="fr-FR" dirty="0">
                <a:ea typeface="Calibri" panose="020F0502020204030204" pitchFamily="34" charset="0"/>
              </a:rPr>
              <a:t> 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fr-FR" dirty="0">
              <a:ea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fr-FR" dirty="0">
              <a:ea typeface="Calibri" panose="020F0502020204030204" pitchFamily="34" charset="0"/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C9D517D-70A7-51E5-CA4E-DCE743F41F1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9F690C6-F4CD-4FC2-95DF-E832AE3B8C23}" type="slidenum">
              <a:rPr lang="fr-FR" smtClean="0"/>
              <a:pPr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12887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BeMo">
  <a:themeElements>
    <a:clrScheme name="Personnalisé 1">
      <a:dk1>
        <a:srgbClr val="374649"/>
      </a:dk1>
      <a:lt1>
        <a:sysClr val="window" lastClr="FFFFFF"/>
      </a:lt1>
      <a:dk2>
        <a:srgbClr val="374649"/>
      </a:dk2>
      <a:lt2>
        <a:srgbClr val="FFFFFF"/>
      </a:lt2>
      <a:accent1>
        <a:srgbClr val="FF0000"/>
      </a:accent1>
      <a:accent2>
        <a:srgbClr val="285AFF"/>
      </a:accent2>
      <a:accent3>
        <a:srgbClr val="009BFF"/>
      </a:accent3>
      <a:accent4>
        <a:srgbClr val="32C8C8"/>
      </a:accent4>
      <a:accent5>
        <a:srgbClr val="28C896"/>
      </a:accent5>
      <a:accent6>
        <a:srgbClr val="96E600"/>
      </a:accent6>
      <a:hlink>
        <a:srgbClr val="285AFF"/>
      </a:hlink>
      <a:folHlink>
        <a:srgbClr val="954F72"/>
      </a:folHlink>
    </a:clrScheme>
    <a:fontScheme name="Be:Mo">
      <a:majorFont>
        <a:latin typeface="Source Sans Pro SemiBold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AF5EB5BA76F2045B2E38313BCD0C09F" ma:contentTypeVersion="16" ma:contentTypeDescription="Crée un document." ma:contentTypeScope="" ma:versionID="07348cfc61e041091bfb33f2b28a8429">
  <xsd:schema xmlns:xsd="http://www.w3.org/2001/XMLSchema" xmlns:xs="http://www.w3.org/2001/XMLSchema" xmlns:p="http://schemas.microsoft.com/office/2006/metadata/properties" xmlns:ns2="45ce75d2-868c-4a8b-8efe-9d0d0dd22eb3" xmlns:ns3="1a435957-6ebb-4bd2-b36a-1fcef003bec0" targetNamespace="http://schemas.microsoft.com/office/2006/metadata/properties" ma:root="true" ma:fieldsID="5f02b4e8c6ddbd03f7549977a49f1969" ns2:_="" ns3:_="">
    <xsd:import namespace="45ce75d2-868c-4a8b-8efe-9d0d0dd22eb3"/>
    <xsd:import namespace="1a435957-6ebb-4bd2-b36a-1fcef003bec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SearchProperties" minOccurs="0"/>
                <xsd:element ref="ns2:Contenu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ce75d2-868c-4a8b-8efe-9d0d0dd22eb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2" nillable="true" ma:taxonomy="true" ma:internalName="lcf76f155ced4ddcb4097134ff3c332f" ma:taxonomyFieldName="MediaServiceImageTags" ma:displayName="Balises d’images" ma:readOnly="false" ma:fieldId="{5cf76f15-5ced-4ddc-b409-7134ff3c332f}" ma:taxonomyMulti="true" ma:sspId="7d7a317d-19e9-4a41-b675-f2bd41b4cab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Contenu" ma:index="23" nillable="true" ma:displayName="Contenu" ma:format="Dropdown" ma:internalName="Contenu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435957-6ebb-4bd2-b36a-1fcef003bec0" elementFormDefault="qualified">
    <xsd:import namespace="http://schemas.microsoft.com/office/2006/documentManagement/types"/>
    <xsd:import namespace="http://schemas.microsoft.com/office/infopath/2007/PartnerControls"/>
    <xsd:element name="TaxCatchAll" ma:index="13" nillable="true" ma:displayName="Taxonomy Catch All Column" ma:hidden="true" ma:list="{2163f73c-58d6-4ebe-bcc9-3e64822a1642}" ma:internalName="TaxCatchAll" ma:showField="CatchAllData" ma:web="1a435957-6ebb-4bd2-b36a-1fcef003bec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0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a435957-6ebb-4bd2-b36a-1fcef003bec0" xsi:nil="true"/>
    <lcf76f155ced4ddcb4097134ff3c332f xmlns="45ce75d2-868c-4a8b-8efe-9d0d0dd22eb3">
      <Terms xmlns="http://schemas.microsoft.com/office/infopath/2007/PartnerControls"/>
    </lcf76f155ced4ddcb4097134ff3c332f>
    <SharedWithUsers xmlns="1a435957-6ebb-4bd2-b36a-1fcef003bec0">
      <UserInfo>
        <DisplayName>Alexandre BIDAULT</DisplayName>
        <AccountId>13</AccountId>
        <AccountType/>
      </UserInfo>
      <UserInfo>
        <DisplayName>Charles BESSON</DisplayName>
        <AccountId>9</AccountId>
        <AccountType/>
      </UserInfo>
      <UserInfo>
        <DisplayName>Gilles-l GAUTHIER</DisplayName>
        <AccountId>40</AccountId>
        <AccountType/>
      </UserInfo>
    </SharedWithUsers>
    <Contenu xmlns="45ce75d2-868c-4a8b-8efe-9d0d0dd22eb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62AC73C-55AB-4836-BD09-AA71292EB348}">
  <ds:schemaRefs>
    <ds:schemaRef ds:uri="1a435957-6ebb-4bd2-b36a-1fcef003bec0"/>
    <ds:schemaRef ds:uri="45ce75d2-868c-4a8b-8efe-9d0d0dd22eb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844A72FB-F9EF-4828-81B1-13F2CCB90A2C}">
  <ds:schemaRefs>
    <ds:schemaRef ds:uri="http://schemas.microsoft.com/office/2006/metadata/properties"/>
    <ds:schemaRef ds:uri="http://schemas.microsoft.com/office/infopath/2007/PartnerControls"/>
    <ds:schemaRef ds:uri="http://purl.org/dc/terms/"/>
    <ds:schemaRef ds:uri="http://purl.org/dc/dcmitype/"/>
    <ds:schemaRef ds:uri="http://purl.org/dc/elements/1.1/"/>
    <ds:schemaRef ds:uri="http://www.w3.org/XML/1998/namespace"/>
    <ds:schemaRef ds:uri="http://schemas.microsoft.com/office/2006/documentManagement/types"/>
    <ds:schemaRef ds:uri="45ce75d2-868c-4a8b-8efe-9d0d0dd22eb3"/>
    <ds:schemaRef ds:uri="1a435957-6ebb-4bd2-b36a-1fcef003bec0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63D30A67-117F-42D8-ACDD-0ADA4F47083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89</TotalTime>
  <Words>1181</Words>
  <Application>Microsoft Office PowerPoint</Application>
  <PresentationFormat>Grand écran</PresentationFormat>
  <Paragraphs>209</Paragraphs>
  <Slides>14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1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4</vt:i4>
      </vt:variant>
    </vt:vector>
  </HeadingPairs>
  <TitlesOfParts>
    <vt:vector size="29" baseType="lpstr">
      <vt:lpstr>SimSun</vt:lpstr>
      <vt:lpstr>Aptos Black</vt:lpstr>
      <vt:lpstr>Arial</vt:lpstr>
      <vt:lpstr>Calibri</vt:lpstr>
      <vt:lpstr>Courier New</vt:lpstr>
      <vt:lpstr>Gotham Rounded Book</vt:lpstr>
      <vt:lpstr>Gotham Rounded Light</vt:lpstr>
      <vt:lpstr>Gotham Rounded Medium</vt:lpstr>
      <vt:lpstr>Roboto</vt:lpstr>
      <vt:lpstr>Source Sans Pro</vt:lpstr>
      <vt:lpstr>Source Sans Pro SemiBold</vt:lpstr>
      <vt:lpstr>Symbol</vt:lpstr>
      <vt:lpstr>Wingdings</vt:lpstr>
      <vt:lpstr>Thème BeMo</vt:lpstr>
      <vt:lpstr>think-cell Slide</vt:lpstr>
      <vt:lpstr>Analysis and optimization of the pricing  of electric charging networks Technical presentation January 24th 2024</vt:lpstr>
      <vt:lpstr>Table of contents</vt:lpstr>
      <vt:lpstr>Electromobility value chain</vt:lpstr>
      <vt:lpstr>Bemo platform</vt:lpstr>
      <vt:lpstr>3 main missions</vt:lpstr>
      <vt:lpstr>Project overview</vt:lpstr>
      <vt:lpstr>Project guidelines</vt:lpstr>
      <vt:lpstr>Example of use case issue</vt:lpstr>
      <vt:lpstr>Présentation PowerPoint</vt:lpstr>
      <vt:lpstr>Bemo pricer tool presentation</vt:lpstr>
      <vt:lpstr>Next steps</vt:lpstr>
      <vt:lpstr>Appendix : Use of PostMan tool  for Pricer single request</vt:lpstr>
      <vt:lpstr>Appendix : Use of PostMan tool  for Pricer partial batch request</vt:lpstr>
      <vt:lpstr>Contac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Alexandre Levante</dc:creator>
  <cp:lastModifiedBy>Pierre CHAVANNE</cp:lastModifiedBy>
  <cp:revision>1</cp:revision>
  <dcterms:created xsi:type="dcterms:W3CDTF">2023-07-03T09:12:07Z</dcterms:created>
  <dcterms:modified xsi:type="dcterms:W3CDTF">2024-02-05T15:10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AF5EB5BA76F2045B2E38313BCD0C09F</vt:lpwstr>
  </property>
  <property fmtid="{D5CDD505-2E9C-101B-9397-08002B2CF9AE}" pid="3" name="MediaServiceImageTags">
    <vt:lpwstr/>
  </property>
  <property fmtid="{D5CDD505-2E9C-101B-9397-08002B2CF9AE}" pid="4" name="MSIP_Label_2b30ed1b-e95f-40b5-af89-828263f287a7_Enabled">
    <vt:lpwstr>true</vt:lpwstr>
  </property>
  <property fmtid="{D5CDD505-2E9C-101B-9397-08002B2CF9AE}" pid="5" name="MSIP_Label_2b30ed1b-e95f-40b5-af89-828263f287a7_SetDate">
    <vt:lpwstr>2023-09-07T08:00:28Z</vt:lpwstr>
  </property>
  <property fmtid="{D5CDD505-2E9C-101B-9397-08002B2CF9AE}" pid="6" name="MSIP_Label_2b30ed1b-e95f-40b5-af89-828263f287a7_Method">
    <vt:lpwstr>Standard</vt:lpwstr>
  </property>
  <property fmtid="{D5CDD505-2E9C-101B-9397-08002B2CF9AE}" pid="7" name="MSIP_Label_2b30ed1b-e95f-40b5-af89-828263f287a7_Name">
    <vt:lpwstr>2b30ed1b-e95f-40b5-af89-828263f287a7</vt:lpwstr>
  </property>
  <property fmtid="{D5CDD505-2E9C-101B-9397-08002B2CF9AE}" pid="8" name="MSIP_Label_2b30ed1b-e95f-40b5-af89-828263f287a7_SiteId">
    <vt:lpwstr>329e91b0-e21f-48fb-a071-456717ecc28e</vt:lpwstr>
  </property>
  <property fmtid="{D5CDD505-2E9C-101B-9397-08002B2CF9AE}" pid="9" name="MSIP_Label_2b30ed1b-e95f-40b5-af89-828263f287a7_ActionId">
    <vt:lpwstr>e3a26f5c-d1eb-4223-859e-266e146893e7</vt:lpwstr>
  </property>
  <property fmtid="{D5CDD505-2E9C-101B-9397-08002B2CF9AE}" pid="10" name="MSIP_Label_2b30ed1b-e95f-40b5-af89-828263f287a7_ContentBits">
    <vt:lpwstr>0</vt:lpwstr>
  </property>
</Properties>
</file>